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7"/>
  </p:notesMasterIdLst>
  <p:sldIdLst>
    <p:sldId id="306" r:id="rId3"/>
    <p:sldId id="275" r:id="rId4"/>
    <p:sldId id="276" r:id="rId5"/>
    <p:sldId id="277" r:id="rId6"/>
    <p:sldId id="303" r:id="rId7"/>
    <p:sldId id="299" r:id="rId8"/>
    <p:sldId id="301" r:id="rId9"/>
    <p:sldId id="300" r:id="rId10"/>
    <p:sldId id="308" r:id="rId11"/>
    <p:sldId id="302" r:id="rId12"/>
    <p:sldId id="307" r:id="rId13"/>
    <p:sldId id="278" r:id="rId14"/>
    <p:sldId id="305" r:id="rId15"/>
    <p:sldId id="298" r:id="rId16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DFDF"/>
    <a:srgbClr val="D9E3BC"/>
    <a:srgbClr val="E9EED6"/>
    <a:srgbClr val="E7DCAE"/>
    <a:srgbClr val="FFFFCC"/>
    <a:srgbClr val="00FFFF"/>
    <a:srgbClr val="FF7C80"/>
    <a:srgbClr val="A50021"/>
    <a:srgbClr val="FF3300"/>
    <a:srgbClr val="E6D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98" d="100"/>
          <a:sy n="98" d="100"/>
        </p:scale>
        <p:origin x="108" y="4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76240" y="2632163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5225057" y="3206602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逻辑递进关系</a:t>
            </a:r>
            <a:endParaRPr lang="en-US" altLang="zh-CN" sz="3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5225056" y="2674062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5225056" y="2798907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5225056" y="3189018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0757" y="2919389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56910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箭头: V 形 2">
            <a:extLst>
              <a:ext uri="{FF2B5EF4-FFF2-40B4-BE49-F238E27FC236}">
                <a16:creationId xmlns:a16="http://schemas.microsoft.com/office/drawing/2014/main" id="{36B7391A-30E2-4B80-8259-169AEC893ADE}"/>
              </a:ext>
            </a:extLst>
          </p:cNvPr>
          <p:cNvSpPr/>
          <p:nvPr/>
        </p:nvSpPr>
        <p:spPr>
          <a:xfrm>
            <a:off x="3053585" y="1846095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" name="箭头: V 形 3">
            <a:extLst>
              <a:ext uri="{FF2B5EF4-FFF2-40B4-BE49-F238E27FC236}">
                <a16:creationId xmlns:a16="http://schemas.microsoft.com/office/drawing/2014/main" id="{BB1FE6B8-F938-48EC-9FB9-D32739CE14E7}"/>
              </a:ext>
            </a:extLst>
          </p:cNvPr>
          <p:cNvSpPr/>
          <p:nvPr/>
        </p:nvSpPr>
        <p:spPr>
          <a:xfrm>
            <a:off x="4491837" y="1846095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箭头: V 形 4">
            <a:extLst>
              <a:ext uri="{FF2B5EF4-FFF2-40B4-BE49-F238E27FC236}">
                <a16:creationId xmlns:a16="http://schemas.microsoft.com/office/drawing/2014/main" id="{201F52D6-A8DF-4044-81AC-5EBFD47A4183}"/>
              </a:ext>
            </a:extLst>
          </p:cNvPr>
          <p:cNvSpPr/>
          <p:nvPr/>
        </p:nvSpPr>
        <p:spPr>
          <a:xfrm>
            <a:off x="5954499" y="1839795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箭头: V 形 5">
            <a:extLst>
              <a:ext uri="{FF2B5EF4-FFF2-40B4-BE49-F238E27FC236}">
                <a16:creationId xmlns:a16="http://schemas.microsoft.com/office/drawing/2014/main" id="{C6C87040-FA98-4335-8125-93C06B2EC3DE}"/>
              </a:ext>
            </a:extLst>
          </p:cNvPr>
          <p:cNvSpPr/>
          <p:nvPr/>
        </p:nvSpPr>
        <p:spPr>
          <a:xfrm>
            <a:off x="7418964" y="1839795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7C9D8F0-3879-4924-AF60-9235CFCE0B5C}"/>
              </a:ext>
            </a:extLst>
          </p:cNvPr>
          <p:cNvSpPr/>
          <p:nvPr/>
        </p:nvSpPr>
        <p:spPr>
          <a:xfrm>
            <a:off x="3161757" y="2475690"/>
            <a:ext cx="1264595" cy="3166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701FF75-4D37-4DB5-8943-A2C910678058}"/>
              </a:ext>
            </a:extLst>
          </p:cNvPr>
          <p:cNvSpPr/>
          <p:nvPr/>
        </p:nvSpPr>
        <p:spPr>
          <a:xfrm>
            <a:off x="4633338" y="2475691"/>
            <a:ext cx="1264595" cy="3166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DDA8E5C-5694-42DC-A30A-40412A288932}"/>
              </a:ext>
            </a:extLst>
          </p:cNvPr>
          <p:cNvSpPr/>
          <p:nvPr/>
        </p:nvSpPr>
        <p:spPr>
          <a:xfrm>
            <a:off x="6096000" y="2475690"/>
            <a:ext cx="1264595" cy="3166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3A04C9D-72B1-4767-A7E1-126C84A5BBD5}"/>
              </a:ext>
            </a:extLst>
          </p:cNvPr>
          <p:cNvSpPr/>
          <p:nvPr/>
        </p:nvSpPr>
        <p:spPr>
          <a:xfrm>
            <a:off x="7560465" y="2475690"/>
            <a:ext cx="1264595" cy="3166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135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560120" y="2329854"/>
            <a:ext cx="529824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适用情况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步骤：先完成什么，再完成什么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条件：完成一组条件后，才能解锁下一环节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6078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959838" y="1694846"/>
            <a:ext cx="4272323" cy="39087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使用明显的箭头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左右递进的表达效果好于上下递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不要使用金字塔形表示递进关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4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数字不能表示递进关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5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反向箭头必须加说明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7185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箭头: 右 2">
            <a:extLst>
              <a:ext uri="{FF2B5EF4-FFF2-40B4-BE49-F238E27FC236}">
                <a16:creationId xmlns:a16="http://schemas.microsoft.com/office/drawing/2014/main" id="{346A30E8-DF82-452E-8A6A-B618AA44595B}"/>
              </a:ext>
            </a:extLst>
          </p:cNvPr>
          <p:cNvSpPr/>
          <p:nvPr/>
        </p:nvSpPr>
        <p:spPr>
          <a:xfrm>
            <a:off x="4056434" y="3005846"/>
            <a:ext cx="515566" cy="6809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33FF968-84FE-4463-8882-68086CE2FA98}"/>
              </a:ext>
            </a:extLst>
          </p:cNvPr>
          <p:cNvSpPr/>
          <p:nvPr/>
        </p:nvSpPr>
        <p:spPr>
          <a:xfrm>
            <a:off x="1498059" y="2762654"/>
            <a:ext cx="2266545" cy="11186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箭头: 右 5">
            <a:extLst>
              <a:ext uri="{FF2B5EF4-FFF2-40B4-BE49-F238E27FC236}">
                <a16:creationId xmlns:a16="http://schemas.microsoft.com/office/drawing/2014/main" id="{7470DFEF-5CAC-495F-BDF3-C801CF125D73}"/>
              </a:ext>
            </a:extLst>
          </p:cNvPr>
          <p:cNvSpPr/>
          <p:nvPr/>
        </p:nvSpPr>
        <p:spPr>
          <a:xfrm>
            <a:off x="7336276" y="3005846"/>
            <a:ext cx="515566" cy="6809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AFCEC34-26C8-46E2-A73C-59E89F8B59D9}"/>
              </a:ext>
            </a:extLst>
          </p:cNvPr>
          <p:cNvSpPr/>
          <p:nvPr/>
        </p:nvSpPr>
        <p:spPr>
          <a:xfrm>
            <a:off x="4777901" y="2762654"/>
            <a:ext cx="2266545" cy="11186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E4EEA37-EA25-4416-8A60-62CF6A0EE0A3}"/>
              </a:ext>
            </a:extLst>
          </p:cNvPr>
          <p:cNvSpPr/>
          <p:nvPr/>
        </p:nvSpPr>
        <p:spPr>
          <a:xfrm>
            <a:off x="8143672" y="2762653"/>
            <a:ext cx="2266545" cy="11186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箭头: 下弧形 8">
            <a:extLst>
              <a:ext uri="{FF2B5EF4-FFF2-40B4-BE49-F238E27FC236}">
                <a16:creationId xmlns:a16="http://schemas.microsoft.com/office/drawing/2014/main" id="{8102A8F5-E91A-4E82-A8A3-489C095A5259}"/>
              </a:ext>
            </a:extLst>
          </p:cNvPr>
          <p:cNvSpPr/>
          <p:nvPr/>
        </p:nvSpPr>
        <p:spPr>
          <a:xfrm flipH="1" flipV="1">
            <a:off x="6631020" y="1673156"/>
            <a:ext cx="1926077" cy="972767"/>
          </a:xfrm>
          <a:prstGeom prst="curved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628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1840561" y="2099428"/>
            <a:ext cx="264687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递进的主要元素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明显的箭头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没了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D85D3ECE-E8AE-4BDA-B322-E69750966A80}"/>
              </a:ext>
            </a:extLst>
          </p:cNvPr>
          <p:cNvGrpSpPr/>
          <p:nvPr/>
        </p:nvGrpSpPr>
        <p:grpSpPr>
          <a:xfrm>
            <a:off x="6356132" y="1426988"/>
            <a:ext cx="4448679" cy="4004023"/>
            <a:chOff x="2033557" y="1109708"/>
            <a:chExt cx="4448679" cy="4004023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" name="Freeform 297">
              <a:extLst>
                <a:ext uri="{FF2B5EF4-FFF2-40B4-BE49-F238E27FC236}">
                  <a16:creationId xmlns:a16="http://schemas.microsoft.com/office/drawing/2014/main" id="{6660B372-543E-482B-9531-227D13400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557" y="3425610"/>
              <a:ext cx="1435277" cy="333216"/>
            </a:xfrm>
            <a:custGeom>
              <a:avLst/>
              <a:gdLst>
                <a:gd name="T0" fmla="*/ 1422400 w 995"/>
                <a:gd name="T1" fmla="*/ 366712 h 231"/>
                <a:gd name="T2" fmla="*/ 0 w 995"/>
                <a:gd name="T3" fmla="*/ 366712 h 231"/>
                <a:gd name="T4" fmla="*/ 157162 w 995"/>
                <a:gd name="T5" fmla="*/ 182562 h 231"/>
                <a:gd name="T6" fmla="*/ 0 w 995"/>
                <a:gd name="T7" fmla="*/ 0 h 231"/>
                <a:gd name="T8" fmla="*/ 1422400 w 995"/>
                <a:gd name="T9" fmla="*/ 0 h 231"/>
                <a:gd name="T10" fmla="*/ 1579562 w 995"/>
                <a:gd name="T11" fmla="*/ 182562 h 231"/>
                <a:gd name="T12" fmla="*/ 1422400 w 995"/>
                <a:gd name="T13" fmla="*/ 366712 h 2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95" h="231">
                  <a:moveTo>
                    <a:pt x="896" y="231"/>
                  </a:moveTo>
                  <a:lnTo>
                    <a:pt x="0" y="231"/>
                  </a:lnTo>
                  <a:lnTo>
                    <a:pt x="99" y="115"/>
                  </a:lnTo>
                  <a:lnTo>
                    <a:pt x="0" y="0"/>
                  </a:lnTo>
                  <a:lnTo>
                    <a:pt x="896" y="0"/>
                  </a:lnTo>
                  <a:lnTo>
                    <a:pt x="995" y="115"/>
                  </a:lnTo>
                  <a:lnTo>
                    <a:pt x="896" y="231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" name="AutoShape 13">
              <a:extLst>
                <a:ext uri="{FF2B5EF4-FFF2-40B4-BE49-F238E27FC236}">
                  <a16:creationId xmlns:a16="http://schemas.microsoft.com/office/drawing/2014/main" id="{A8CD978B-8B8B-4C4D-AB32-4EADE81BB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557" y="2246560"/>
              <a:ext cx="1607731" cy="652943"/>
            </a:xfrm>
            <a:prstGeom prst="rightArrow">
              <a:avLst>
                <a:gd name="adj1" fmla="val 69463"/>
                <a:gd name="adj2" fmla="val 96268"/>
              </a:avLst>
            </a:prstGeom>
            <a:grpFill/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latin typeface="+mn-lt"/>
              </a:endParaRPr>
            </a:p>
          </p:txBody>
        </p:sp>
        <p:sp>
          <p:nvSpPr>
            <p:cNvPr id="5" name="箭头: 圆角右 4">
              <a:extLst>
                <a:ext uri="{FF2B5EF4-FFF2-40B4-BE49-F238E27FC236}">
                  <a16:creationId xmlns:a16="http://schemas.microsoft.com/office/drawing/2014/main" id="{62346E3C-FBD4-4C85-92AD-3DC22076DCAC}"/>
                </a:ext>
              </a:extLst>
            </p:cNvPr>
            <p:cNvSpPr/>
            <p:nvPr/>
          </p:nvSpPr>
          <p:spPr>
            <a:xfrm>
              <a:off x="2184192" y="4190261"/>
              <a:ext cx="1161526" cy="879274"/>
            </a:xfrm>
            <a:prstGeom prst="ben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" name="箭头: 虚尾 5">
              <a:extLst>
                <a:ext uri="{FF2B5EF4-FFF2-40B4-BE49-F238E27FC236}">
                  <a16:creationId xmlns:a16="http://schemas.microsoft.com/office/drawing/2014/main" id="{982CEA1E-D01B-47A6-9280-7414E5D22B68}"/>
                </a:ext>
              </a:extLst>
            </p:cNvPr>
            <p:cNvSpPr/>
            <p:nvPr/>
          </p:nvSpPr>
          <p:spPr>
            <a:xfrm>
              <a:off x="2033557" y="1278384"/>
              <a:ext cx="1607731" cy="758273"/>
            </a:xfrm>
            <a:prstGeom prst="stripedRightArrow">
              <a:avLst>
                <a:gd name="adj1" fmla="val 45745"/>
                <a:gd name="adj2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箭头: 燕尾形 6">
              <a:extLst>
                <a:ext uri="{FF2B5EF4-FFF2-40B4-BE49-F238E27FC236}">
                  <a16:creationId xmlns:a16="http://schemas.microsoft.com/office/drawing/2014/main" id="{35E95331-30D7-421C-9236-D521ED77C8DA}"/>
                </a:ext>
              </a:extLst>
            </p:cNvPr>
            <p:cNvSpPr/>
            <p:nvPr/>
          </p:nvSpPr>
          <p:spPr>
            <a:xfrm>
              <a:off x="4731797" y="1109708"/>
              <a:ext cx="1677881" cy="1064809"/>
            </a:xfrm>
            <a:prstGeom prst="notched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箭头: V 形 7">
              <a:extLst>
                <a:ext uri="{FF2B5EF4-FFF2-40B4-BE49-F238E27FC236}">
                  <a16:creationId xmlns:a16="http://schemas.microsoft.com/office/drawing/2014/main" id="{354F36AC-232D-421D-8AAF-ED30877677BA}"/>
                </a:ext>
              </a:extLst>
            </p:cNvPr>
            <p:cNvSpPr/>
            <p:nvPr/>
          </p:nvSpPr>
          <p:spPr>
            <a:xfrm>
              <a:off x="5149048" y="2404676"/>
              <a:ext cx="661473" cy="50927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箭头: 五边形 8">
              <a:extLst>
                <a:ext uri="{FF2B5EF4-FFF2-40B4-BE49-F238E27FC236}">
                  <a16:creationId xmlns:a16="http://schemas.microsoft.com/office/drawing/2014/main" id="{83463192-0A98-4749-954D-257508539CC9}"/>
                </a:ext>
              </a:extLst>
            </p:cNvPr>
            <p:cNvSpPr/>
            <p:nvPr/>
          </p:nvSpPr>
          <p:spPr>
            <a:xfrm>
              <a:off x="4643020" y="3271614"/>
              <a:ext cx="1839216" cy="613072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标注: 右箭头 9">
              <a:extLst>
                <a:ext uri="{FF2B5EF4-FFF2-40B4-BE49-F238E27FC236}">
                  <a16:creationId xmlns:a16="http://schemas.microsoft.com/office/drawing/2014/main" id="{00E78A69-C256-4C98-9F8B-065114D3F83D}"/>
                </a:ext>
              </a:extLst>
            </p:cNvPr>
            <p:cNvSpPr/>
            <p:nvPr/>
          </p:nvSpPr>
          <p:spPr>
            <a:xfrm>
              <a:off x="4731797" y="4674094"/>
              <a:ext cx="1677881" cy="439637"/>
            </a:xfrm>
            <a:prstGeom prst="rightArrowCallou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0730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3799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1">
            <a:extLst>
              <a:ext uri="{FF2B5EF4-FFF2-40B4-BE49-F238E27FC236}">
                <a16:creationId xmlns:a16="http://schemas.microsoft.com/office/drawing/2014/main" id="{46538B25-65DE-436B-9B03-C745F1416DD2}"/>
              </a:ext>
            </a:extLst>
          </p:cNvPr>
          <p:cNvSpPr>
            <a:spLocks/>
          </p:cNvSpPr>
          <p:nvPr/>
        </p:nvSpPr>
        <p:spPr bwMode="auto">
          <a:xfrm>
            <a:off x="887916" y="4628552"/>
            <a:ext cx="2189686" cy="132025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zh-CN" altLang="zh-CN" sz="14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B38F339-285A-4619-96EF-6128868F9949}"/>
              </a:ext>
            </a:extLst>
          </p:cNvPr>
          <p:cNvSpPr txBox="1">
            <a:spLocks/>
          </p:cNvSpPr>
          <p:nvPr/>
        </p:nvSpPr>
        <p:spPr bwMode="auto">
          <a:xfrm>
            <a:off x="908050" y="177800"/>
            <a:ext cx="10515600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id-ID" altLang="zh-CN" sz="3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Lato" panose="020F0502020204030203" pitchFamily="34" charset="0"/>
              </a:rPr>
              <a:t>Stair Level</a:t>
            </a:r>
            <a:endParaRPr lang="en-US" altLang="zh-CN" sz="320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77A208-0FE8-4C3B-B174-57B89412E24D}"/>
              </a:ext>
            </a:extLst>
          </p:cNvPr>
          <p:cNvSpPr txBox="1">
            <a:spLocks/>
          </p:cNvSpPr>
          <p:nvPr/>
        </p:nvSpPr>
        <p:spPr>
          <a:xfrm>
            <a:off x="2554533" y="783000"/>
            <a:ext cx="8887549" cy="425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400">
                <a:solidFill>
                  <a:schemeClr val="bg1">
                    <a:lumMod val="6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Lato" panose="020F0502020204030203" pitchFamily="34" charset="0"/>
              </a:rPr>
              <a:t>Put a relevant subtitle in </a:t>
            </a:r>
            <a:r>
              <a:rPr lang="en-US" sz="1400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  <a:cs typeface="Lato" panose="020F0502020204030203" pitchFamily="34" charset="0"/>
              </a:rPr>
              <a:t>this line</a:t>
            </a:r>
          </a:p>
          <a:p>
            <a:pPr fontAlgn="auto">
              <a:spcAft>
                <a:spcPts val="0"/>
              </a:spcAft>
              <a:defRPr/>
            </a:pPr>
            <a:endParaRPr lang="en-US" sz="1400">
              <a:solidFill>
                <a:schemeClr val="accent4"/>
              </a:solidFill>
              <a:latin typeface="Roboto" panose="02000000000000000000" pitchFamily="2" charset="0"/>
              <a:ea typeface="Roboto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48E0C3DB-F293-4CB6-861A-C55759990A82}"/>
              </a:ext>
            </a:extLst>
          </p:cNvPr>
          <p:cNvSpPr>
            <a:spLocks/>
          </p:cNvSpPr>
          <p:nvPr/>
        </p:nvSpPr>
        <p:spPr bwMode="auto">
          <a:xfrm>
            <a:off x="2472689" y="4068871"/>
            <a:ext cx="2189686" cy="132025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zh-CN" altLang="zh-CN" sz="1400"/>
          </a:p>
        </p:txBody>
      </p:sp>
      <p:sp>
        <p:nvSpPr>
          <p:cNvPr id="9" name="Freeform 2">
            <a:extLst>
              <a:ext uri="{FF2B5EF4-FFF2-40B4-BE49-F238E27FC236}">
                <a16:creationId xmlns:a16="http://schemas.microsoft.com/office/drawing/2014/main" id="{E0D08D24-BFFD-4641-B772-172336347A7A}"/>
              </a:ext>
            </a:extLst>
          </p:cNvPr>
          <p:cNvSpPr>
            <a:spLocks/>
          </p:cNvSpPr>
          <p:nvPr/>
        </p:nvSpPr>
        <p:spPr bwMode="auto">
          <a:xfrm>
            <a:off x="4066652" y="4782666"/>
            <a:ext cx="601090" cy="606457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/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66B37C81-7D39-4E79-9D6F-669C3B815794}"/>
              </a:ext>
            </a:extLst>
          </p:cNvPr>
          <p:cNvSpPr>
            <a:spLocks/>
          </p:cNvSpPr>
          <p:nvPr/>
        </p:nvSpPr>
        <p:spPr bwMode="auto">
          <a:xfrm>
            <a:off x="4066652" y="3462414"/>
            <a:ext cx="2189686" cy="1320252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zh-CN" altLang="zh-CN" sz="140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867C17B1-682F-4EBB-88FD-851AF1B0116B}"/>
              </a:ext>
            </a:extLst>
          </p:cNvPr>
          <p:cNvSpPr>
            <a:spLocks/>
          </p:cNvSpPr>
          <p:nvPr/>
        </p:nvSpPr>
        <p:spPr bwMode="auto">
          <a:xfrm>
            <a:off x="5660614" y="4176209"/>
            <a:ext cx="601090" cy="606457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xtLst>
            <a:ext uri="{91240B29-F687-4f45-9708-019B960494DF}"/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F0AD9AE2-BF5B-468A-AA53-AE75CF758A68}"/>
              </a:ext>
            </a:extLst>
          </p:cNvPr>
          <p:cNvSpPr>
            <a:spLocks/>
          </p:cNvSpPr>
          <p:nvPr/>
        </p:nvSpPr>
        <p:spPr bwMode="auto">
          <a:xfrm>
            <a:off x="5665981" y="2855957"/>
            <a:ext cx="2189686" cy="132025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7CDBE8C4-E050-4D93-B9C7-99DA8AF1F4F7}"/>
              </a:ext>
            </a:extLst>
          </p:cNvPr>
          <p:cNvSpPr>
            <a:spLocks/>
          </p:cNvSpPr>
          <p:nvPr/>
        </p:nvSpPr>
        <p:spPr bwMode="auto">
          <a:xfrm>
            <a:off x="7249210" y="3569752"/>
            <a:ext cx="601090" cy="606457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/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25E52CB2-3264-4A50-AAC0-00B0836ADAAE}"/>
              </a:ext>
            </a:extLst>
          </p:cNvPr>
          <p:cNvSpPr>
            <a:spLocks/>
          </p:cNvSpPr>
          <p:nvPr/>
        </p:nvSpPr>
        <p:spPr bwMode="auto">
          <a:xfrm>
            <a:off x="7249210" y="2254867"/>
            <a:ext cx="2189686" cy="1320252"/>
          </a:xfrm>
          <a:prstGeom prst="rect">
            <a:avLst/>
          </a:prstGeom>
          <a:solidFill>
            <a:schemeClr val="accent4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6FD59D0C-087B-47BD-A33D-39D46A9CC89D}"/>
              </a:ext>
            </a:extLst>
          </p:cNvPr>
          <p:cNvSpPr>
            <a:spLocks/>
          </p:cNvSpPr>
          <p:nvPr/>
        </p:nvSpPr>
        <p:spPr bwMode="auto">
          <a:xfrm>
            <a:off x="8837806" y="2957928"/>
            <a:ext cx="601090" cy="606457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>
            <a:ext uri="{91240B29-F687-4f45-9708-019B960494DF}"/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16" name="AutoShape 13">
            <a:extLst>
              <a:ext uri="{FF2B5EF4-FFF2-40B4-BE49-F238E27FC236}">
                <a16:creationId xmlns:a16="http://schemas.microsoft.com/office/drawing/2014/main" id="{1CB3D45F-B15B-4EC1-AE7E-95137AA65C5B}"/>
              </a:ext>
            </a:extLst>
          </p:cNvPr>
          <p:cNvSpPr>
            <a:spLocks/>
          </p:cNvSpPr>
          <p:nvPr/>
        </p:nvSpPr>
        <p:spPr bwMode="auto">
          <a:xfrm>
            <a:off x="8837806" y="1363965"/>
            <a:ext cx="2704906" cy="1883774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grpSp>
        <p:nvGrpSpPr>
          <p:cNvPr id="17" name="Group 15">
            <a:extLst>
              <a:ext uri="{FF2B5EF4-FFF2-40B4-BE49-F238E27FC236}">
                <a16:creationId xmlns:a16="http://schemas.microsoft.com/office/drawing/2014/main" id="{A0BF67E0-72BB-4979-9FC8-0F73FE092BFC}"/>
              </a:ext>
            </a:extLst>
          </p:cNvPr>
          <p:cNvGrpSpPr>
            <a:grpSpLocks/>
          </p:cNvGrpSpPr>
          <p:nvPr/>
        </p:nvGrpSpPr>
        <p:grpSpPr bwMode="auto">
          <a:xfrm>
            <a:off x="2640689" y="4139311"/>
            <a:ext cx="1517485" cy="1211573"/>
            <a:chOff x="2608307" y="2500926"/>
            <a:chExt cx="2152775" cy="1433283"/>
          </a:xfrm>
        </p:grpSpPr>
        <p:sp>
          <p:nvSpPr>
            <p:cNvPr id="18" name="Content Placeholder 2">
              <a:extLst>
                <a:ext uri="{FF2B5EF4-FFF2-40B4-BE49-F238E27FC236}">
                  <a16:creationId xmlns:a16="http://schemas.microsoft.com/office/drawing/2014/main" id="{72FE1BAA-0DD2-4678-99B6-52333D536A3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08307" y="2890814"/>
              <a:ext cx="2152775" cy="1043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20" tIns="60960" rIns="121920" bIns="6096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1200" dirty="0">
                  <a:solidFill>
                    <a:schemeClr val="bg1"/>
                  </a:solidFill>
                </a:rPr>
                <a:t>Lorem Ipsum has been the industry's standard dummy text ever since the 1500s, when an unknown.</a:t>
              </a:r>
            </a:p>
          </p:txBody>
        </p:sp>
        <p:sp>
          <p:nvSpPr>
            <p:cNvPr id="19" name="Title 13">
              <a:extLst>
                <a:ext uri="{FF2B5EF4-FFF2-40B4-BE49-F238E27FC236}">
                  <a16:creationId xmlns:a16="http://schemas.microsoft.com/office/drawing/2014/main" id="{F060EB9E-E061-4CE4-9872-EB742F1AC4EA}"/>
                </a:ext>
              </a:extLst>
            </p:cNvPr>
            <p:cNvSpPr txBox="1">
              <a:spLocks/>
            </p:cNvSpPr>
            <p:nvPr/>
          </p:nvSpPr>
          <p:spPr>
            <a:xfrm>
              <a:off x="2762485" y="2500926"/>
              <a:ext cx="1800641" cy="441254"/>
            </a:xfrm>
            <a:prstGeom prst="rect">
              <a:avLst/>
            </a:prstGeom>
          </p:spPr>
          <p:txBody>
            <a:bodyPr lIns="121920" tIns="60960" rIns="121920" bIns="6096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id-ID" sz="1600" dirty="0">
                  <a:solidFill>
                    <a:schemeClr val="bg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Call Center</a:t>
              </a:r>
              <a:endParaRPr lang="en-US" sz="16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167D24E1-465B-4A72-9DB8-C70A4D08CC1B}"/>
              </a:ext>
            </a:extLst>
          </p:cNvPr>
          <p:cNvGrpSpPr>
            <a:grpSpLocks/>
          </p:cNvGrpSpPr>
          <p:nvPr/>
        </p:nvGrpSpPr>
        <p:grpSpPr bwMode="auto">
          <a:xfrm>
            <a:off x="4196798" y="3463755"/>
            <a:ext cx="1517485" cy="1211573"/>
            <a:chOff x="2608307" y="2500926"/>
            <a:chExt cx="2152775" cy="1433283"/>
          </a:xfrm>
        </p:grpSpPr>
        <p:sp>
          <p:nvSpPr>
            <p:cNvPr id="21" name="Content Placeholder 2">
              <a:extLst>
                <a:ext uri="{FF2B5EF4-FFF2-40B4-BE49-F238E27FC236}">
                  <a16:creationId xmlns:a16="http://schemas.microsoft.com/office/drawing/2014/main" id="{10468C44-E725-4B32-8255-4D81DB30D5C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08307" y="2890814"/>
              <a:ext cx="2152775" cy="1043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20" tIns="60960" rIns="121920" bIns="6096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1200" dirty="0">
                  <a:solidFill>
                    <a:schemeClr val="bg1"/>
                  </a:solidFill>
                </a:rPr>
                <a:t>Lorem Ipsum has been </a:t>
              </a:r>
              <a:r>
                <a:rPr lang="en-US" altLang="zh-CN" sz="1200" dirty="0" err="1">
                  <a:solidFill>
                    <a:schemeClr val="bg1"/>
                  </a:solidFill>
                </a:rPr>
                <a:t>wwwwwunknown</a:t>
              </a:r>
              <a:r>
                <a:rPr lang="en-US" altLang="zh-CN" sz="1200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22" name="Title 13">
              <a:extLst>
                <a:ext uri="{FF2B5EF4-FFF2-40B4-BE49-F238E27FC236}">
                  <a16:creationId xmlns:a16="http://schemas.microsoft.com/office/drawing/2014/main" id="{63BFAE25-FADF-4DDB-9565-901D8AD96ED4}"/>
                </a:ext>
              </a:extLst>
            </p:cNvPr>
            <p:cNvSpPr txBox="1">
              <a:spLocks/>
            </p:cNvSpPr>
            <p:nvPr/>
          </p:nvSpPr>
          <p:spPr>
            <a:xfrm>
              <a:off x="2762485" y="2500926"/>
              <a:ext cx="1800641" cy="441254"/>
            </a:xfrm>
            <a:prstGeom prst="rect">
              <a:avLst/>
            </a:prstGeom>
          </p:spPr>
          <p:txBody>
            <a:bodyPr lIns="121920" tIns="60960" rIns="121920" bIns="6096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id-ID" sz="1600">
                  <a:solidFill>
                    <a:schemeClr val="bg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Networking</a:t>
              </a:r>
              <a:endParaRPr lang="en-US" sz="16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23" name="Group 21">
            <a:extLst>
              <a:ext uri="{FF2B5EF4-FFF2-40B4-BE49-F238E27FC236}">
                <a16:creationId xmlns:a16="http://schemas.microsoft.com/office/drawing/2014/main" id="{F4B445E4-B646-4DA4-9C42-8226A4C49FD9}"/>
              </a:ext>
            </a:extLst>
          </p:cNvPr>
          <p:cNvGrpSpPr>
            <a:grpSpLocks/>
          </p:cNvGrpSpPr>
          <p:nvPr/>
        </p:nvGrpSpPr>
        <p:grpSpPr bwMode="auto">
          <a:xfrm>
            <a:off x="5674031" y="2872058"/>
            <a:ext cx="1517484" cy="1211572"/>
            <a:chOff x="2608307" y="2500926"/>
            <a:chExt cx="2152775" cy="1433283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DB4F3758-F405-47D4-BEF7-718B8EE710D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08307" y="2890814"/>
              <a:ext cx="2152775" cy="1043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20" tIns="60960" rIns="121920" bIns="6096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1200" dirty="0">
                  <a:solidFill>
                    <a:schemeClr val="bg1"/>
                  </a:solidFill>
                </a:rPr>
                <a:t>11111</a:t>
              </a:r>
            </a:p>
          </p:txBody>
        </p:sp>
        <p:sp>
          <p:nvSpPr>
            <p:cNvPr id="25" name="Title 13">
              <a:extLst>
                <a:ext uri="{FF2B5EF4-FFF2-40B4-BE49-F238E27FC236}">
                  <a16:creationId xmlns:a16="http://schemas.microsoft.com/office/drawing/2014/main" id="{D826B6B7-A9D6-4306-9F11-32C150ED9D1B}"/>
                </a:ext>
              </a:extLst>
            </p:cNvPr>
            <p:cNvSpPr txBox="1">
              <a:spLocks/>
            </p:cNvSpPr>
            <p:nvPr/>
          </p:nvSpPr>
          <p:spPr>
            <a:xfrm>
              <a:off x="2762484" y="2500926"/>
              <a:ext cx="1800642" cy="441254"/>
            </a:xfrm>
            <a:prstGeom prst="rect">
              <a:avLst/>
            </a:prstGeom>
          </p:spPr>
          <p:txBody>
            <a:bodyPr lIns="121920" tIns="60960" rIns="121920" bIns="6096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id-ID" sz="1600">
                  <a:solidFill>
                    <a:schemeClr val="bg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Supporting</a:t>
              </a:r>
              <a:endParaRPr lang="en-US" sz="16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26" name="Group 24">
            <a:extLst>
              <a:ext uri="{FF2B5EF4-FFF2-40B4-BE49-F238E27FC236}">
                <a16:creationId xmlns:a16="http://schemas.microsoft.com/office/drawing/2014/main" id="{7B0319F4-9D84-4C23-889B-6272A27DEEF2}"/>
              </a:ext>
            </a:extLst>
          </p:cNvPr>
          <p:cNvGrpSpPr>
            <a:grpSpLocks/>
          </p:cNvGrpSpPr>
          <p:nvPr/>
        </p:nvGrpSpPr>
        <p:grpSpPr bwMode="auto">
          <a:xfrm>
            <a:off x="7276044" y="2265600"/>
            <a:ext cx="1516143" cy="1211572"/>
            <a:chOff x="2608307" y="2500926"/>
            <a:chExt cx="2152775" cy="1433283"/>
          </a:xfrm>
        </p:grpSpPr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94C8FED8-CBCA-426D-86EB-8A1DD621AD7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08307" y="2890814"/>
              <a:ext cx="2152775" cy="1043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20" tIns="60960" rIns="121920" bIns="6096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1200" dirty="0">
                  <a:solidFill>
                    <a:schemeClr val="bg1"/>
                  </a:solidFill>
                </a:rPr>
                <a:t>Lorem Ipsum has been the industry's standard dummy text ever since the 1500s, when an unknown.</a:t>
              </a:r>
            </a:p>
          </p:txBody>
        </p:sp>
        <p:sp>
          <p:nvSpPr>
            <p:cNvPr id="28" name="Title 13">
              <a:extLst>
                <a:ext uri="{FF2B5EF4-FFF2-40B4-BE49-F238E27FC236}">
                  <a16:creationId xmlns:a16="http://schemas.microsoft.com/office/drawing/2014/main" id="{10EEED70-3320-4A10-BFBF-E6EECE2068D0}"/>
                </a:ext>
              </a:extLst>
            </p:cNvPr>
            <p:cNvSpPr txBox="1">
              <a:spLocks/>
            </p:cNvSpPr>
            <p:nvPr/>
          </p:nvSpPr>
          <p:spPr>
            <a:xfrm>
              <a:off x="2762620" y="2500926"/>
              <a:ext cx="1800330" cy="441254"/>
            </a:xfrm>
            <a:prstGeom prst="rect">
              <a:avLst/>
            </a:prstGeom>
          </p:spPr>
          <p:txBody>
            <a:bodyPr lIns="121920" tIns="60960" rIns="121920" bIns="6096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id-ID" sz="1600">
                  <a:solidFill>
                    <a:schemeClr val="bg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Services</a:t>
              </a:r>
              <a:endParaRPr lang="en-US" sz="16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29" name="Group 27">
            <a:extLst>
              <a:ext uri="{FF2B5EF4-FFF2-40B4-BE49-F238E27FC236}">
                <a16:creationId xmlns:a16="http://schemas.microsoft.com/office/drawing/2014/main" id="{E6BEE570-FDAA-40D7-9700-3F4673AB1C2A}"/>
              </a:ext>
            </a:extLst>
          </p:cNvPr>
          <p:cNvGrpSpPr>
            <a:grpSpLocks/>
          </p:cNvGrpSpPr>
          <p:nvPr/>
        </p:nvGrpSpPr>
        <p:grpSpPr bwMode="auto">
          <a:xfrm>
            <a:off x="9265814" y="1684635"/>
            <a:ext cx="1516143" cy="1210231"/>
            <a:chOff x="2608307" y="2500926"/>
            <a:chExt cx="2152775" cy="1433283"/>
          </a:xfrm>
        </p:grpSpPr>
        <p:sp>
          <p:nvSpPr>
            <p:cNvPr id="30" name="Content Placeholder 2">
              <a:extLst>
                <a:ext uri="{FF2B5EF4-FFF2-40B4-BE49-F238E27FC236}">
                  <a16:creationId xmlns:a16="http://schemas.microsoft.com/office/drawing/2014/main" id="{92CF3C71-9A77-4E29-A262-07FAA2FF4F0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08307" y="2890814"/>
              <a:ext cx="2152775" cy="1043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20" tIns="60960" rIns="121920" bIns="6096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r>
                <a:rPr lang="en-US" altLang="zh-CN" sz="1200" dirty="0" err="1">
                  <a:solidFill>
                    <a:schemeClr val="bg1"/>
                  </a:solidFill>
                </a:rPr>
                <a:t>wwwwunknown</a:t>
              </a:r>
              <a:r>
                <a:rPr lang="en-US" altLang="zh-CN" sz="1200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31" name="Title 13">
              <a:extLst>
                <a:ext uri="{FF2B5EF4-FFF2-40B4-BE49-F238E27FC236}">
                  <a16:creationId xmlns:a16="http://schemas.microsoft.com/office/drawing/2014/main" id="{44A76178-4B3D-4994-9C69-76E4871DA3D0}"/>
                </a:ext>
              </a:extLst>
            </p:cNvPr>
            <p:cNvSpPr txBox="1">
              <a:spLocks/>
            </p:cNvSpPr>
            <p:nvPr/>
          </p:nvSpPr>
          <p:spPr>
            <a:xfrm>
              <a:off x="2762622" y="2500926"/>
              <a:ext cx="1800329" cy="440155"/>
            </a:xfrm>
            <a:prstGeom prst="rect">
              <a:avLst/>
            </a:prstGeom>
          </p:spPr>
          <p:txBody>
            <a:bodyPr lIns="121920" tIns="60960" rIns="121920" bIns="6096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id-ID" sz="1600">
                  <a:solidFill>
                    <a:schemeClr val="bg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Management</a:t>
              </a:r>
              <a:endParaRPr lang="en-US" sz="16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endParaRPr>
            </a:p>
          </p:txBody>
        </p:sp>
      </p:grpSp>
      <p:sp>
        <p:nvSpPr>
          <p:cNvPr id="32" name="Isosceles Triangle 30">
            <a:extLst>
              <a:ext uri="{FF2B5EF4-FFF2-40B4-BE49-F238E27FC236}">
                <a16:creationId xmlns:a16="http://schemas.microsoft.com/office/drawing/2014/main" id="{1DD2691B-C24B-40B6-B746-4C8AC728B6E8}"/>
              </a:ext>
            </a:extLst>
          </p:cNvPr>
          <p:cNvSpPr/>
          <p:nvPr/>
        </p:nvSpPr>
        <p:spPr>
          <a:xfrm>
            <a:off x="3819775" y="3827362"/>
            <a:ext cx="216016" cy="216016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3" name="Isosceles Triangle 31">
            <a:extLst>
              <a:ext uri="{FF2B5EF4-FFF2-40B4-BE49-F238E27FC236}">
                <a16:creationId xmlns:a16="http://schemas.microsoft.com/office/drawing/2014/main" id="{ECA4F55C-2A04-4CE7-B916-ACF3253E97FC}"/>
              </a:ext>
            </a:extLst>
          </p:cNvPr>
          <p:cNvSpPr/>
          <p:nvPr/>
        </p:nvSpPr>
        <p:spPr>
          <a:xfrm>
            <a:off x="5394954" y="3204804"/>
            <a:ext cx="216016" cy="214675"/>
          </a:xfrm>
          <a:prstGeom prst="triangle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4">
              <a:hueOff val="1953167"/>
              <a:satOff val="-15628"/>
              <a:lumOff val="-5442"/>
              <a:alphaOff val="0"/>
            </a:schemeClr>
          </a:fillRef>
          <a:effectRef idx="0">
            <a:schemeClr val="accent4">
              <a:hueOff val="1953167"/>
              <a:satOff val="-15628"/>
              <a:lumOff val="-5442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5" name="Isosceles Triangle 32">
            <a:extLst>
              <a:ext uri="{FF2B5EF4-FFF2-40B4-BE49-F238E27FC236}">
                <a16:creationId xmlns:a16="http://schemas.microsoft.com/office/drawing/2014/main" id="{7D9373E6-26C9-4168-8E30-9A02A81F56E0}"/>
              </a:ext>
            </a:extLst>
          </p:cNvPr>
          <p:cNvSpPr/>
          <p:nvPr/>
        </p:nvSpPr>
        <p:spPr>
          <a:xfrm>
            <a:off x="6990258" y="2606397"/>
            <a:ext cx="216017" cy="21601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4">
              <a:hueOff val="3255278"/>
              <a:satOff val="-26046"/>
              <a:lumOff val="-9069"/>
              <a:alphaOff val="0"/>
            </a:schemeClr>
          </a:fillRef>
          <a:effectRef idx="0">
            <a:schemeClr val="accent4">
              <a:hueOff val="3255278"/>
              <a:satOff val="-26046"/>
              <a:lumOff val="-9069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6" name="Isosceles Triangle 33">
            <a:extLst>
              <a:ext uri="{FF2B5EF4-FFF2-40B4-BE49-F238E27FC236}">
                <a16:creationId xmlns:a16="http://schemas.microsoft.com/office/drawing/2014/main" id="{39C06BAA-7744-4C01-9261-B34080C3AADA}"/>
              </a:ext>
            </a:extLst>
          </p:cNvPr>
          <p:cNvSpPr/>
          <p:nvPr/>
        </p:nvSpPr>
        <p:spPr>
          <a:xfrm>
            <a:off x="8578853" y="2007990"/>
            <a:ext cx="216017" cy="214675"/>
          </a:xfrm>
          <a:prstGeom prst="triangle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4557389"/>
              <a:satOff val="-36465"/>
              <a:lumOff val="-12697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7" name="Rectangle 34">
            <a:extLst>
              <a:ext uri="{FF2B5EF4-FFF2-40B4-BE49-F238E27FC236}">
                <a16:creationId xmlns:a16="http://schemas.microsoft.com/office/drawing/2014/main" id="{79473355-EDE2-41C9-A36A-6C18EBCDB2C1}"/>
              </a:ext>
            </a:extLst>
          </p:cNvPr>
          <p:cNvSpPr/>
          <p:nvPr/>
        </p:nvSpPr>
        <p:spPr>
          <a:xfrm>
            <a:off x="6330132" y="2270967"/>
            <a:ext cx="611824" cy="54607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chemeClr val="accent3"/>
                </a:solidFill>
                <a:latin typeface="Cumulus" panose="02000503000000000000" pitchFamily="2" charset="2"/>
              </a:rPr>
              <a:t>C</a:t>
            </a:r>
            <a:endParaRPr lang="en-US" sz="3600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8" name="Rectangle 35">
            <a:extLst>
              <a:ext uri="{FF2B5EF4-FFF2-40B4-BE49-F238E27FC236}">
                <a16:creationId xmlns:a16="http://schemas.microsoft.com/office/drawing/2014/main" id="{AF9BF30F-6380-40D1-8599-CE707C684AF5}"/>
              </a:ext>
            </a:extLst>
          </p:cNvPr>
          <p:cNvSpPr/>
          <p:nvPr/>
        </p:nvSpPr>
        <p:spPr>
          <a:xfrm>
            <a:off x="9508665" y="1100988"/>
            <a:ext cx="610482" cy="54607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chemeClr val="accent5"/>
                </a:solidFill>
                <a:latin typeface="Cumulus" panose="02000503000000000000" pitchFamily="2" charset="2"/>
              </a:rPr>
              <a:t>E</a:t>
            </a:r>
            <a:endParaRPr lang="en-US" sz="36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39" name="Rectangle 36">
            <a:extLst>
              <a:ext uri="{FF2B5EF4-FFF2-40B4-BE49-F238E27FC236}">
                <a16:creationId xmlns:a16="http://schemas.microsoft.com/office/drawing/2014/main" id="{D4D1A3F3-B6C7-40FF-A5A1-8544788F48A0}"/>
              </a:ext>
            </a:extLst>
          </p:cNvPr>
          <p:cNvSpPr/>
          <p:nvPr/>
        </p:nvSpPr>
        <p:spPr>
          <a:xfrm>
            <a:off x="7843591" y="1680611"/>
            <a:ext cx="610483" cy="54607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chemeClr val="accent4"/>
                </a:solidFill>
                <a:latin typeface="Cumulus" panose="02000503000000000000" pitchFamily="2" charset="2"/>
              </a:rPr>
              <a:t>D</a:t>
            </a:r>
            <a:endParaRPr lang="en-US" sz="36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40" name="Rectangle 37">
            <a:extLst>
              <a:ext uri="{FF2B5EF4-FFF2-40B4-BE49-F238E27FC236}">
                <a16:creationId xmlns:a16="http://schemas.microsoft.com/office/drawing/2014/main" id="{F3776513-A4A1-4E82-B585-209F54174C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1578" y="3475831"/>
            <a:ext cx="382331" cy="54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zh-CN" sz="3600" dirty="0">
                <a:solidFill>
                  <a:schemeClr val="accent1"/>
                </a:solidFill>
                <a:latin typeface="Cumulus" pitchFamily="2" charset="2"/>
              </a:rPr>
              <a:t>A</a:t>
            </a:r>
            <a:endParaRPr lang="en-US" altLang="zh-CN" sz="3600" dirty="0">
              <a:solidFill>
                <a:schemeClr val="accent1"/>
              </a:solidFill>
            </a:endParaRPr>
          </a:p>
        </p:txBody>
      </p:sp>
      <p:sp>
        <p:nvSpPr>
          <p:cNvPr id="41" name="Rectangle 38">
            <a:extLst>
              <a:ext uri="{FF2B5EF4-FFF2-40B4-BE49-F238E27FC236}">
                <a16:creationId xmlns:a16="http://schemas.microsoft.com/office/drawing/2014/main" id="{D657019A-B571-4C71-B896-E4AD5DEEA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702" y="2819730"/>
            <a:ext cx="368783" cy="54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zh-CN" sz="3600" dirty="0">
                <a:solidFill>
                  <a:schemeClr val="accent2"/>
                </a:solidFill>
                <a:latin typeface="Cumulus" pitchFamily="2" charset="2"/>
              </a:rPr>
              <a:t>B</a:t>
            </a:r>
            <a:endParaRPr lang="en-US" altLang="zh-CN" sz="3600" dirty="0">
              <a:solidFill>
                <a:schemeClr val="accent2"/>
              </a:solidFill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091AB6CE-8815-4AD1-B96E-E231BEB2D747}"/>
              </a:ext>
            </a:extLst>
          </p:cNvPr>
          <p:cNvSpPr txBox="1">
            <a:spLocks/>
          </p:cNvSpPr>
          <p:nvPr/>
        </p:nvSpPr>
        <p:spPr>
          <a:xfrm>
            <a:off x="2590760" y="2894866"/>
            <a:ext cx="1428931" cy="47228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orem ipsum dolor sit amet, consectetur adipiscing elit. Sed imperdiet tincidunt.</a:t>
            </a:r>
            <a:endParaRPr lang="en-US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0E0B3672-7542-4C71-8BBA-A6F620E2FB43}"/>
              </a:ext>
            </a:extLst>
          </p:cNvPr>
          <p:cNvSpPr txBox="1">
            <a:spLocks/>
          </p:cNvSpPr>
          <p:nvPr/>
        </p:nvSpPr>
        <p:spPr>
          <a:xfrm>
            <a:off x="4241075" y="2252183"/>
            <a:ext cx="1428931" cy="47094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orem ipsum dolor sit amet, consectetur adipiscing elit. Sed imperdiet tincidunt.</a:t>
            </a:r>
            <a:endParaRPr lang="en-US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8C5C1480-A012-43EE-8E06-E476EC9D527E}"/>
              </a:ext>
            </a:extLst>
          </p:cNvPr>
          <p:cNvSpPr txBox="1">
            <a:spLocks/>
          </p:cNvSpPr>
          <p:nvPr/>
        </p:nvSpPr>
        <p:spPr>
          <a:xfrm>
            <a:off x="5903465" y="1723546"/>
            <a:ext cx="1430273" cy="47094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orem ipsum dolor sit amet, consectetur adipiscing elit. Sed imperdiet tincidunt.</a:t>
            </a:r>
            <a:endParaRPr lang="en-US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BE25B27E-B34D-40ED-B382-8CAB48BAF9C4}"/>
              </a:ext>
            </a:extLst>
          </p:cNvPr>
          <p:cNvSpPr txBox="1">
            <a:spLocks/>
          </p:cNvSpPr>
          <p:nvPr/>
        </p:nvSpPr>
        <p:spPr>
          <a:xfrm>
            <a:off x="9102124" y="568325"/>
            <a:ext cx="1428932" cy="47228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orem ipsum dolor sit amet, consectetur adipiscing elit. Sed imperdiet tincidunt.</a:t>
            </a:r>
            <a:endParaRPr lang="en-US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08D2BAD6-301B-469A-81FA-E7C933520102}"/>
              </a:ext>
            </a:extLst>
          </p:cNvPr>
          <p:cNvSpPr txBox="1">
            <a:spLocks/>
          </p:cNvSpPr>
          <p:nvPr/>
        </p:nvSpPr>
        <p:spPr>
          <a:xfrm>
            <a:off x="7371306" y="1129164"/>
            <a:ext cx="1428932" cy="47094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orem ipsum dolor sit amet, consectetur adipiscing elit. Sed imperdiet tincidunt.</a:t>
            </a:r>
            <a:endParaRPr lang="en-US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1" name="Freeform 2">
            <a:extLst>
              <a:ext uri="{FF2B5EF4-FFF2-40B4-BE49-F238E27FC236}">
                <a16:creationId xmlns:a16="http://schemas.microsoft.com/office/drawing/2014/main" id="{C16A7888-65F9-4D1B-9BDD-DA1A699F786D}"/>
              </a:ext>
            </a:extLst>
          </p:cNvPr>
          <p:cNvSpPr>
            <a:spLocks/>
          </p:cNvSpPr>
          <p:nvPr/>
        </p:nvSpPr>
        <p:spPr bwMode="auto">
          <a:xfrm>
            <a:off x="2472690" y="5389123"/>
            <a:ext cx="601090" cy="606457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xtLst>
            <a:ext uri="{91240B29-F687-4f45-9708-019B960494DF}"/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latin typeface="+mn-lt"/>
            </a:endParaRPr>
          </a:p>
        </p:txBody>
      </p:sp>
      <p:sp>
        <p:nvSpPr>
          <p:cNvPr id="53" name="Isosceles Triangle 30">
            <a:extLst>
              <a:ext uri="{FF2B5EF4-FFF2-40B4-BE49-F238E27FC236}">
                <a16:creationId xmlns:a16="http://schemas.microsoft.com/office/drawing/2014/main" id="{DB85F8DD-5DD6-4C10-893C-BCF01B1F92F2}"/>
              </a:ext>
            </a:extLst>
          </p:cNvPr>
          <p:cNvSpPr/>
          <p:nvPr/>
        </p:nvSpPr>
        <p:spPr>
          <a:xfrm>
            <a:off x="2207314" y="4379021"/>
            <a:ext cx="216016" cy="216016"/>
          </a:xfrm>
          <a:prstGeom prst="triangle">
            <a:avLst>
              <a:gd name="adj" fmla="val 100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>
            <a:extLst>
              <a:ext uri="{FF2B5EF4-FFF2-40B4-BE49-F238E27FC236}">
                <a16:creationId xmlns:a16="http://schemas.microsoft.com/office/drawing/2014/main" id="{EF6D82B7-B3E8-417E-9F5A-3EDB932887EA}"/>
              </a:ext>
            </a:extLst>
          </p:cNvPr>
          <p:cNvGrpSpPr>
            <a:grpSpLocks/>
          </p:cNvGrpSpPr>
          <p:nvPr/>
        </p:nvGrpSpPr>
        <p:grpSpPr bwMode="auto">
          <a:xfrm>
            <a:off x="2792922" y="2376070"/>
            <a:ext cx="6896100" cy="727075"/>
            <a:chOff x="1068462" y="1563638"/>
            <a:chExt cx="6896100" cy="727075"/>
          </a:xfrm>
        </p:grpSpPr>
        <p:sp>
          <p:nvSpPr>
            <p:cNvPr id="6" name="Oval 266">
              <a:extLst>
                <a:ext uri="{FF2B5EF4-FFF2-40B4-BE49-F238E27FC236}">
                  <a16:creationId xmlns:a16="http://schemas.microsoft.com/office/drawing/2014/main" id="{72FCC6A3-28EE-47CC-B16F-D8A897D00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7487" y="1563638"/>
              <a:ext cx="727075" cy="727075"/>
            </a:xfrm>
            <a:prstGeom prst="ellipse">
              <a:avLst/>
            </a:prstGeom>
            <a:solidFill>
              <a:srgbClr val="FCB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endParaRPr lang="zh-CN" altLang="zh-CN"/>
            </a:p>
          </p:txBody>
        </p:sp>
        <p:sp>
          <p:nvSpPr>
            <p:cNvPr id="7" name="Freeform 267">
              <a:extLst>
                <a:ext uri="{FF2B5EF4-FFF2-40B4-BE49-F238E27FC236}">
                  <a16:creationId xmlns:a16="http://schemas.microsoft.com/office/drawing/2014/main" id="{5AED788A-49E7-4DC0-9930-EC898071A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762" y="1743025"/>
              <a:ext cx="385762" cy="368300"/>
            </a:xfrm>
            <a:custGeom>
              <a:avLst/>
              <a:gdLst>
                <a:gd name="T0" fmla="*/ 307111 w 103"/>
                <a:gd name="T1" fmla="*/ 368300 h 98"/>
                <a:gd name="T2" fmla="*/ 299621 w 103"/>
                <a:gd name="T3" fmla="*/ 368300 h 98"/>
                <a:gd name="T4" fmla="*/ 194754 w 103"/>
                <a:gd name="T5" fmla="*/ 289379 h 98"/>
                <a:gd name="T6" fmla="*/ 86141 w 103"/>
                <a:gd name="T7" fmla="*/ 368300 h 98"/>
                <a:gd name="T8" fmla="*/ 74905 w 103"/>
                <a:gd name="T9" fmla="*/ 368300 h 98"/>
                <a:gd name="T10" fmla="*/ 71160 w 103"/>
                <a:gd name="T11" fmla="*/ 357026 h 98"/>
                <a:gd name="T12" fmla="*/ 112358 w 103"/>
                <a:gd name="T13" fmla="*/ 229248 h 98"/>
                <a:gd name="T14" fmla="*/ 7491 w 103"/>
                <a:gd name="T15" fmla="*/ 150327 h 98"/>
                <a:gd name="T16" fmla="*/ 3745 w 103"/>
                <a:gd name="T17" fmla="*/ 139052 h 98"/>
                <a:gd name="T18" fmla="*/ 14981 w 103"/>
                <a:gd name="T19" fmla="*/ 135294 h 98"/>
                <a:gd name="T20" fmla="*/ 127339 w 103"/>
                <a:gd name="T21" fmla="*/ 217973 h 98"/>
                <a:gd name="T22" fmla="*/ 131084 w 103"/>
                <a:gd name="T23" fmla="*/ 229248 h 98"/>
                <a:gd name="T24" fmla="*/ 97377 w 103"/>
                <a:gd name="T25" fmla="*/ 334477 h 98"/>
                <a:gd name="T26" fmla="*/ 187263 w 103"/>
                <a:gd name="T27" fmla="*/ 270588 h 98"/>
                <a:gd name="T28" fmla="*/ 198499 w 103"/>
                <a:gd name="T29" fmla="*/ 270588 h 98"/>
                <a:gd name="T30" fmla="*/ 288385 w 103"/>
                <a:gd name="T31" fmla="*/ 334477 h 98"/>
                <a:gd name="T32" fmla="*/ 254678 w 103"/>
                <a:gd name="T33" fmla="*/ 229248 h 98"/>
                <a:gd name="T34" fmla="*/ 258423 w 103"/>
                <a:gd name="T35" fmla="*/ 217973 h 98"/>
                <a:gd name="T36" fmla="*/ 348309 w 103"/>
                <a:gd name="T37" fmla="*/ 154085 h 98"/>
                <a:gd name="T38" fmla="*/ 235952 w 103"/>
                <a:gd name="T39" fmla="*/ 154085 h 98"/>
                <a:gd name="T40" fmla="*/ 228461 w 103"/>
                <a:gd name="T41" fmla="*/ 146568 h 98"/>
                <a:gd name="T42" fmla="*/ 194754 w 103"/>
                <a:gd name="T43" fmla="*/ 41340 h 98"/>
                <a:gd name="T44" fmla="*/ 157301 w 103"/>
                <a:gd name="T45" fmla="*/ 146568 h 98"/>
                <a:gd name="T46" fmla="*/ 149810 w 103"/>
                <a:gd name="T47" fmla="*/ 154085 h 98"/>
                <a:gd name="T48" fmla="*/ 67415 w 103"/>
                <a:gd name="T49" fmla="*/ 154085 h 98"/>
                <a:gd name="T50" fmla="*/ 56179 w 103"/>
                <a:gd name="T51" fmla="*/ 142810 h 98"/>
                <a:gd name="T52" fmla="*/ 67415 w 103"/>
                <a:gd name="T53" fmla="*/ 135294 h 98"/>
                <a:gd name="T54" fmla="*/ 142320 w 103"/>
                <a:gd name="T55" fmla="*/ 135294 h 98"/>
                <a:gd name="T56" fmla="*/ 183518 w 103"/>
                <a:gd name="T57" fmla="*/ 7516 h 98"/>
                <a:gd name="T58" fmla="*/ 202244 w 103"/>
                <a:gd name="T59" fmla="*/ 7516 h 98"/>
                <a:gd name="T60" fmla="*/ 243442 w 103"/>
                <a:gd name="T61" fmla="*/ 135294 h 98"/>
                <a:gd name="T62" fmla="*/ 374526 w 103"/>
                <a:gd name="T63" fmla="*/ 135294 h 98"/>
                <a:gd name="T64" fmla="*/ 385762 w 103"/>
                <a:gd name="T65" fmla="*/ 142810 h 98"/>
                <a:gd name="T66" fmla="*/ 382017 w 103"/>
                <a:gd name="T67" fmla="*/ 150327 h 98"/>
                <a:gd name="T68" fmla="*/ 273404 w 103"/>
                <a:gd name="T69" fmla="*/ 229248 h 98"/>
                <a:gd name="T70" fmla="*/ 314602 w 103"/>
                <a:gd name="T71" fmla="*/ 357026 h 98"/>
                <a:gd name="T72" fmla="*/ 310857 w 103"/>
                <a:gd name="T73" fmla="*/ 368300 h 98"/>
                <a:gd name="T74" fmla="*/ 307111 w 103"/>
                <a:gd name="T75" fmla="*/ 368300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03" h="98">
                  <a:moveTo>
                    <a:pt x="82" y="98"/>
                  </a:moveTo>
                  <a:cubicBezTo>
                    <a:pt x="81" y="98"/>
                    <a:pt x="81" y="98"/>
                    <a:pt x="80" y="9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8"/>
                    <a:pt x="20" y="98"/>
                  </a:cubicBezTo>
                  <a:cubicBezTo>
                    <a:pt x="19" y="97"/>
                    <a:pt x="19" y="96"/>
                    <a:pt x="19" y="95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0"/>
                    <a:pt x="0" y="38"/>
                    <a:pt x="1" y="37"/>
                  </a:cubicBezTo>
                  <a:cubicBezTo>
                    <a:pt x="2" y="36"/>
                    <a:pt x="3" y="36"/>
                    <a:pt x="4" y="36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5" y="59"/>
                    <a:pt x="36" y="60"/>
                    <a:pt x="35" y="61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1" y="71"/>
                    <a:pt x="52" y="71"/>
                    <a:pt x="53" y="72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59"/>
                    <a:pt x="69" y="5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1" y="40"/>
                    <a:pt x="61" y="39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0"/>
                    <a:pt x="41" y="41"/>
                    <a:pt x="40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6" y="41"/>
                    <a:pt x="15" y="40"/>
                    <a:pt x="15" y="38"/>
                  </a:cubicBezTo>
                  <a:cubicBezTo>
                    <a:pt x="15" y="37"/>
                    <a:pt x="16" y="36"/>
                    <a:pt x="18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3" y="0"/>
                    <a:pt x="54" y="2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1" y="36"/>
                    <a:pt x="102" y="37"/>
                    <a:pt x="103" y="38"/>
                  </a:cubicBezTo>
                  <a:cubicBezTo>
                    <a:pt x="103" y="39"/>
                    <a:pt x="102" y="40"/>
                    <a:pt x="102" y="40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6"/>
                    <a:pt x="84" y="97"/>
                    <a:pt x="83" y="98"/>
                  </a:cubicBezTo>
                  <a:cubicBezTo>
                    <a:pt x="83" y="98"/>
                    <a:pt x="82" y="98"/>
                    <a:pt x="82" y="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" name="Oval 268">
              <a:extLst>
                <a:ext uri="{FF2B5EF4-FFF2-40B4-BE49-F238E27FC236}">
                  <a16:creationId xmlns:a16="http://schemas.microsoft.com/office/drawing/2014/main" id="{66D1F2FC-2FE5-4D9E-A8FC-049650B3A6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9799" y="1563638"/>
              <a:ext cx="728662" cy="727075"/>
            </a:xfrm>
            <a:prstGeom prst="ellipse">
              <a:avLst/>
            </a:prstGeom>
            <a:solidFill>
              <a:srgbClr val="E94D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endParaRPr lang="zh-CN" altLang="zh-CN"/>
            </a:p>
          </p:txBody>
        </p:sp>
        <p:sp>
          <p:nvSpPr>
            <p:cNvPr id="9" name="Freeform 269">
              <a:extLst>
                <a:ext uri="{FF2B5EF4-FFF2-40B4-BE49-F238E27FC236}">
                  <a16:creationId xmlns:a16="http://schemas.microsoft.com/office/drawing/2014/main" id="{73B21018-4B3B-4062-8E39-E0079F621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0937" y="1852563"/>
              <a:ext cx="160337" cy="149225"/>
            </a:xfrm>
            <a:custGeom>
              <a:avLst/>
              <a:gdLst>
                <a:gd name="T0" fmla="*/ 78304 w 43"/>
                <a:gd name="T1" fmla="*/ 149225 h 40"/>
                <a:gd name="T2" fmla="*/ 7458 w 43"/>
                <a:gd name="T3" fmla="*/ 141764 h 40"/>
                <a:gd name="T4" fmla="*/ 3729 w 43"/>
                <a:gd name="T5" fmla="*/ 138033 h 40"/>
                <a:gd name="T6" fmla="*/ 0 w 43"/>
                <a:gd name="T7" fmla="*/ 134303 h 40"/>
                <a:gd name="T8" fmla="*/ 7458 w 43"/>
                <a:gd name="T9" fmla="*/ 104458 h 40"/>
                <a:gd name="T10" fmla="*/ 11186 w 43"/>
                <a:gd name="T11" fmla="*/ 100727 h 40"/>
                <a:gd name="T12" fmla="*/ 52203 w 43"/>
                <a:gd name="T13" fmla="*/ 82074 h 40"/>
                <a:gd name="T14" fmla="*/ 52203 w 43"/>
                <a:gd name="T15" fmla="*/ 82074 h 40"/>
                <a:gd name="T16" fmla="*/ 41016 w 43"/>
                <a:gd name="T17" fmla="*/ 44768 h 40"/>
                <a:gd name="T18" fmla="*/ 78304 w 43"/>
                <a:gd name="T19" fmla="*/ 0 h 40"/>
                <a:gd name="T20" fmla="*/ 119321 w 43"/>
                <a:gd name="T21" fmla="*/ 44768 h 40"/>
                <a:gd name="T22" fmla="*/ 108134 w 43"/>
                <a:gd name="T23" fmla="*/ 82074 h 40"/>
                <a:gd name="T24" fmla="*/ 108134 w 43"/>
                <a:gd name="T25" fmla="*/ 82074 h 40"/>
                <a:gd name="T26" fmla="*/ 149151 w 43"/>
                <a:gd name="T27" fmla="*/ 100727 h 40"/>
                <a:gd name="T28" fmla="*/ 152879 w 43"/>
                <a:gd name="T29" fmla="*/ 104458 h 40"/>
                <a:gd name="T30" fmla="*/ 160337 w 43"/>
                <a:gd name="T31" fmla="*/ 134303 h 40"/>
                <a:gd name="T32" fmla="*/ 156608 w 43"/>
                <a:gd name="T33" fmla="*/ 138033 h 40"/>
                <a:gd name="T34" fmla="*/ 152879 w 43"/>
                <a:gd name="T35" fmla="*/ 141764 h 40"/>
                <a:gd name="T36" fmla="*/ 78304 w 43"/>
                <a:gd name="T37" fmla="*/ 149225 h 40"/>
                <a:gd name="T38" fmla="*/ 22373 w 43"/>
                <a:gd name="T39" fmla="*/ 126841 h 40"/>
                <a:gd name="T40" fmla="*/ 137964 w 43"/>
                <a:gd name="T41" fmla="*/ 126841 h 40"/>
                <a:gd name="T42" fmla="*/ 134236 w 43"/>
                <a:gd name="T43" fmla="*/ 111919 h 40"/>
                <a:gd name="T44" fmla="*/ 96948 w 43"/>
                <a:gd name="T45" fmla="*/ 100727 h 40"/>
                <a:gd name="T46" fmla="*/ 89490 w 43"/>
                <a:gd name="T47" fmla="*/ 89535 h 40"/>
                <a:gd name="T48" fmla="*/ 89490 w 43"/>
                <a:gd name="T49" fmla="*/ 89535 h 40"/>
                <a:gd name="T50" fmla="*/ 89490 w 43"/>
                <a:gd name="T51" fmla="*/ 82074 h 40"/>
                <a:gd name="T52" fmla="*/ 93219 w 43"/>
                <a:gd name="T53" fmla="*/ 70882 h 40"/>
                <a:gd name="T54" fmla="*/ 104405 w 43"/>
                <a:gd name="T55" fmla="*/ 44768 h 40"/>
                <a:gd name="T56" fmla="*/ 78304 w 43"/>
                <a:gd name="T57" fmla="*/ 18653 h 40"/>
                <a:gd name="T58" fmla="*/ 55932 w 43"/>
                <a:gd name="T59" fmla="*/ 44768 h 40"/>
                <a:gd name="T60" fmla="*/ 67118 w 43"/>
                <a:gd name="T61" fmla="*/ 70882 h 40"/>
                <a:gd name="T62" fmla="*/ 70847 w 43"/>
                <a:gd name="T63" fmla="*/ 82074 h 40"/>
                <a:gd name="T64" fmla="*/ 70847 w 43"/>
                <a:gd name="T65" fmla="*/ 93266 h 40"/>
                <a:gd name="T66" fmla="*/ 63389 w 43"/>
                <a:gd name="T67" fmla="*/ 100727 h 40"/>
                <a:gd name="T68" fmla="*/ 26101 w 43"/>
                <a:gd name="T69" fmla="*/ 111919 h 40"/>
                <a:gd name="T70" fmla="*/ 22373 w 43"/>
                <a:gd name="T71" fmla="*/ 126841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43" h="40">
                  <a:moveTo>
                    <a:pt x="21" y="40"/>
                  </a:moveTo>
                  <a:cubicBezTo>
                    <a:pt x="15" y="40"/>
                    <a:pt x="8" y="39"/>
                    <a:pt x="2" y="38"/>
                  </a:cubicBezTo>
                  <a:cubicBezTo>
                    <a:pt x="2" y="38"/>
                    <a:pt x="1" y="38"/>
                    <a:pt x="1" y="37"/>
                  </a:cubicBezTo>
                  <a:cubicBezTo>
                    <a:pt x="0" y="37"/>
                    <a:pt x="0" y="36"/>
                    <a:pt x="0" y="36"/>
                  </a:cubicBezTo>
                  <a:cubicBezTo>
                    <a:pt x="1" y="33"/>
                    <a:pt x="1" y="30"/>
                    <a:pt x="2" y="28"/>
                  </a:cubicBezTo>
                  <a:cubicBezTo>
                    <a:pt x="2" y="28"/>
                    <a:pt x="3" y="27"/>
                    <a:pt x="3" y="27"/>
                  </a:cubicBezTo>
                  <a:cubicBezTo>
                    <a:pt x="6" y="25"/>
                    <a:pt x="10" y="23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2" y="19"/>
                    <a:pt x="11" y="15"/>
                    <a:pt x="11" y="12"/>
                  </a:cubicBezTo>
                  <a:cubicBezTo>
                    <a:pt x="11" y="5"/>
                    <a:pt x="15" y="0"/>
                    <a:pt x="21" y="0"/>
                  </a:cubicBezTo>
                  <a:cubicBezTo>
                    <a:pt x="28" y="0"/>
                    <a:pt x="32" y="5"/>
                    <a:pt x="32" y="12"/>
                  </a:cubicBezTo>
                  <a:cubicBezTo>
                    <a:pt x="32" y="15"/>
                    <a:pt x="31" y="19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3" y="23"/>
                    <a:pt x="37" y="25"/>
                    <a:pt x="40" y="27"/>
                  </a:cubicBezTo>
                  <a:cubicBezTo>
                    <a:pt x="40" y="27"/>
                    <a:pt x="40" y="27"/>
                    <a:pt x="41" y="28"/>
                  </a:cubicBezTo>
                  <a:cubicBezTo>
                    <a:pt x="42" y="31"/>
                    <a:pt x="42" y="33"/>
                    <a:pt x="43" y="36"/>
                  </a:cubicBezTo>
                  <a:cubicBezTo>
                    <a:pt x="43" y="36"/>
                    <a:pt x="43" y="37"/>
                    <a:pt x="42" y="37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34" y="39"/>
                    <a:pt x="28" y="40"/>
                    <a:pt x="21" y="40"/>
                  </a:cubicBezTo>
                  <a:close/>
                  <a:moveTo>
                    <a:pt x="6" y="34"/>
                  </a:moveTo>
                  <a:cubicBezTo>
                    <a:pt x="16" y="35"/>
                    <a:pt x="27" y="35"/>
                    <a:pt x="37" y="34"/>
                  </a:cubicBezTo>
                  <a:cubicBezTo>
                    <a:pt x="37" y="33"/>
                    <a:pt x="37" y="32"/>
                    <a:pt x="36" y="30"/>
                  </a:cubicBezTo>
                  <a:cubicBezTo>
                    <a:pt x="34" y="29"/>
                    <a:pt x="30" y="27"/>
                    <a:pt x="26" y="27"/>
                  </a:cubicBezTo>
                  <a:cubicBezTo>
                    <a:pt x="25" y="27"/>
                    <a:pt x="24" y="26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3"/>
                    <a:pt x="24" y="22"/>
                  </a:cubicBezTo>
                  <a:cubicBezTo>
                    <a:pt x="23" y="21"/>
                    <a:pt x="24" y="20"/>
                    <a:pt x="25" y="19"/>
                  </a:cubicBezTo>
                  <a:cubicBezTo>
                    <a:pt x="26" y="18"/>
                    <a:pt x="28" y="15"/>
                    <a:pt x="28" y="12"/>
                  </a:cubicBezTo>
                  <a:cubicBezTo>
                    <a:pt x="28" y="8"/>
                    <a:pt x="25" y="5"/>
                    <a:pt x="21" y="5"/>
                  </a:cubicBezTo>
                  <a:cubicBezTo>
                    <a:pt x="18" y="5"/>
                    <a:pt x="15" y="8"/>
                    <a:pt x="15" y="12"/>
                  </a:cubicBezTo>
                  <a:cubicBezTo>
                    <a:pt x="15" y="15"/>
                    <a:pt x="17" y="18"/>
                    <a:pt x="18" y="19"/>
                  </a:cubicBezTo>
                  <a:cubicBezTo>
                    <a:pt x="19" y="20"/>
                    <a:pt x="20" y="21"/>
                    <a:pt x="19" y="22"/>
                  </a:cubicBezTo>
                  <a:cubicBezTo>
                    <a:pt x="19" y="23"/>
                    <a:pt x="19" y="24"/>
                    <a:pt x="19" y="25"/>
                  </a:cubicBezTo>
                  <a:cubicBezTo>
                    <a:pt x="19" y="26"/>
                    <a:pt x="18" y="27"/>
                    <a:pt x="17" y="27"/>
                  </a:cubicBezTo>
                  <a:cubicBezTo>
                    <a:pt x="13" y="27"/>
                    <a:pt x="9" y="29"/>
                    <a:pt x="7" y="30"/>
                  </a:cubicBezTo>
                  <a:cubicBezTo>
                    <a:pt x="6" y="32"/>
                    <a:pt x="6" y="33"/>
                    <a:pt x="6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" name="Freeform 270">
              <a:extLst>
                <a:ext uri="{FF2B5EF4-FFF2-40B4-BE49-F238E27FC236}">
                  <a16:creationId xmlns:a16="http://schemas.microsoft.com/office/drawing/2014/main" id="{3615DCA1-47B2-4AE3-9558-096CB9215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2837" y="1806525"/>
              <a:ext cx="382587" cy="236537"/>
            </a:xfrm>
            <a:custGeom>
              <a:avLst/>
              <a:gdLst>
                <a:gd name="T0" fmla="*/ 318823 w 102"/>
                <a:gd name="T1" fmla="*/ 236537 h 63"/>
                <a:gd name="T2" fmla="*/ 11253 w 102"/>
                <a:gd name="T3" fmla="*/ 236537 h 63"/>
                <a:gd name="T4" fmla="*/ 0 w 102"/>
                <a:gd name="T5" fmla="*/ 229028 h 63"/>
                <a:gd name="T6" fmla="*/ 0 w 102"/>
                <a:gd name="T7" fmla="*/ 11264 h 63"/>
                <a:gd name="T8" fmla="*/ 11253 w 102"/>
                <a:gd name="T9" fmla="*/ 0 h 63"/>
                <a:gd name="T10" fmla="*/ 375085 w 102"/>
                <a:gd name="T11" fmla="*/ 0 h 63"/>
                <a:gd name="T12" fmla="*/ 382587 w 102"/>
                <a:gd name="T13" fmla="*/ 11264 h 63"/>
                <a:gd name="T14" fmla="*/ 382587 w 102"/>
                <a:gd name="T15" fmla="*/ 172710 h 63"/>
                <a:gd name="T16" fmla="*/ 318823 w 102"/>
                <a:gd name="T17" fmla="*/ 236537 h 63"/>
                <a:gd name="T18" fmla="*/ 18754 w 102"/>
                <a:gd name="T19" fmla="*/ 221519 h 63"/>
                <a:gd name="T20" fmla="*/ 318823 w 102"/>
                <a:gd name="T21" fmla="*/ 221519 h 63"/>
                <a:gd name="T22" fmla="*/ 363833 w 102"/>
                <a:gd name="T23" fmla="*/ 172710 h 63"/>
                <a:gd name="T24" fmla="*/ 363833 w 102"/>
                <a:gd name="T25" fmla="*/ 18773 h 63"/>
                <a:gd name="T26" fmla="*/ 18754 w 102"/>
                <a:gd name="T27" fmla="*/ 18773 h 63"/>
                <a:gd name="T28" fmla="*/ 18754 w 102"/>
                <a:gd name="T29" fmla="*/ 221519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2" h="63">
                  <a:moveTo>
                    <a:pt x="85" y="63"/>
                  </a:moveTo>
                  <a:cubicBezTo>
                    <a:pt x="3" y="63"/>
                    <a:pt x="3" y="63"/>
                    <a:pt x="3" y="63"/>
                  </a:cubicBezTo>
                  <a:cubicBezTo>
                    <a:pt x="1" y="63"/>
                    <a:pt x="0" y="62"/>
                    <a:pt x="0" y="6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2" y="3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56"/>
                    <a:pt x="94" y="63"/>
                    <a:pt x="85" y="63"/>
                  </a:cubicBezTo>
                  <a:close/>
                  <a:moveTo>
                    <a:pt x="5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92" y="59"/>
                    <a:pt x="97" y="53"/>
                    <a:pt x="97" y="46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" name="Freeform 271">
              <a:extLst>
                <a:ext uri="{FF2B5EF4-FFF2-40B4-BE49-F238E27FC236}">
                  <a16:creationId xmlns:a16="http://schemas.microsoft.com/office/drawing/2014/main" id="{10FAD733-89DB-44CE-B423-7B76DFCDA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324" y="1863675"/>
              <a:ext cx="127000" cy="19050"/>
            </a:xfrm>
            <a:custGeom>
              <a:avLst/>
              <a:gdLst>
                <a:gd name="T0" fmla="*/ 119529 w 34"/>
                <a:gd name="T1" fmla="*/ 19050 h 5"/>
                <a:gd name="T2" fmla="*/ 11206 w 34"/>
                <a:gd name="T3" fmla="*/ 19050 h 5"/>
                <a:gd name="T4" fmla="*/ 0 w 34"/>
                <a:gd name="T5" fmla="*/ 7620 h 5"/>
                <a:gd name="T6" fmla="*/ 11206 w 34"/>
                <a:gd name="T7" fmla="*/ 0 h 5"/>
                <a:gd name="T8" fmla="*/ 119529 w 34"/>
                <a:gd name="T9" fmla="*/ 0 h 5"/>
                <a:gd name="T10" fmla="*/ 127000 w 34"/>
                <a:gd name="T11" fmla="*/ 7620 h 5"/>
                <a:gd name="T12" fmla="*/ 119529 w 34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5">
                  <a:moveTo>
                    <a:pt x="3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4" y="1"/>
                    <a:pt x="34" y="2"/>
                  </a:cubicBezTo>
                  <a:cubicBezTo>
                    <a:pt x="34" y="4"/>
                    <a:pt x="33" y="5"/>
                    <a:pt x="3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" name="Freeform 272">
              <a:extLst>
                <a:ext uri="{FF2B5EF4-FFF2-40B4-BE49-F238E27FC236}">
                  <a16:creationId xmlns:a16="http://schemas.microsoft.com/office/drawing/2014/main" id="{F6DD7059-BA54-42C6-9923-00D9B98E0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324" y="1916063"/>
              <a:ext cx="127000" cy="19050"/>
            </a:xfrm>
            <a:custGeom>
              <a:avLst/>
              <a:gdLst>
                <a:gd name="T0" fmla="*/ 119529 w 34"/>
                <a:gd name="T1" fmla="*/ 19050 h 5"/>
                <a:gd name="T2" fmla="*/ 11206 w 34"/>
                <a:gd name="T3" fmla="*/ 19050 h 5"/>
                <a:gd name="T4" fmla="*/ 0 w 34"/>
                <a:gd name="T5" fmla="*/ 11430 h 5"/>
                <a:gd name="T6" fmla="*/ 11206 w 34"/>
                <a:gd name="T7" fmla="*/ 0 h 5"/>
                <a:gd name="T8" fmla="*/ 119529 w 34"/>
                <a:gd name="T9" fmla="*/ 0 h 5"/>
                <a:gd name="T10" fmla="*/ 127000 w 34"/>
                <a:gd name="T11" fmla="*/ 11430 h 5"/>
                <a:gd name="T12" fmla="*/ 119529 w 34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5">
                  <a:moveTo>
                    <a:pt x="3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4" y="2"/>
                    <a:pt x="34" y="3"/>
                  </a:cubicBezTo>
                  <a:cubicBezTo>
                    <a:pt x="34" y="4"/>
                    <a:pt x="33" y="5"/>
                    <a:pt x="3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" name="Freeform 273">
              <a:extLst>
                <a:ext uri="{FF2B5EF4-FFF2-40B4-BE49-F238E27FC236}">
                  <a16:creationId xmlns:a16="http://schemas.microsoft.com/office/drawing/2014/main" id="{F863E4F4-E894-478A-A495-A0AF456C3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324" y="1971625"/>
              <a:ext cx="127000" cy="19050"/>
            </a:xfrm>
            <a:custGeom>
              <a:avLst/>
              <a:gdLst>
                <a:gd name="T0" fmla="*/ 119529 w 34"/>
                <a:gd name="T1" fmla="*/ 19050 h 5"/>
                <a:gd name="T2" fmla="*/ 11206 w 34"/>
                <a:gd name="T3" fmla="*/ 19050 h 5"/>
                <a:gd name="T4" fmla="*/ 0 w 34"/>
                <a:gd name="T5" fmla="*/ 7620 h 5"/>
                <a:gd name="T6" fmla="*/ 11206 w 34"/>
                <a:gd name="T7" fmla="*/ 0 h 5"/>
                <a:gd name="T8" fmla="*/ 119529 w 34"/>
                <a:gd name="T9" fmla="*/ 0 h 5"/>
                <a:gd name="T10" fmla="*/ 127000 w 34"/>
                <a:gd name="T11" fmla="*/ 7620 h 5"/>
                <a:gd name="T12" fmla="*/ 119529 w 34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5">
                  <a:moveTo>
                    <a:pt x="3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4" y="1"/>
                    <a:pt x="34" y="2"/>
                  </a:cubicBezTo>
                  <a:cubicBezTo>
                    <a:pt x="34" y="4"/>
                    <a:pt x="33" y="5"/>
                    <a:pt x="3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Oval 274">
              <a:extLst>
                <a:ext uri="{FF2B5EF4-FFF2-40B4-BE49-F238E27FC236}">
                  <a16:creationId xmlns:a16="http://schemas.microsoft.com/office/drawing/2014/main" id="{DBBA7D59-A99F-4B7A-96E6-E8E3FF46B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462" y="1563638"/>
              <a:ext cx="727075" cy="727075"/>
            </a:xfrm>
            <a:prstGeom prst="ellipse">
              <a:avLst/>
            </a:prstGeom>
            <a:solidFill>
              <a:srgbClr val="734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endParaRPr lang="zh-CN" altLang="zh-CN"/>
            </a:p>
          </p:txBody>
        </p:sp>
        <p:sp>
          <p:nvSpPr>
            <p:cNvPr id="15" name="Freeform 275">
              <a:extLst>
                <a:ext uri="{FF2B5EF4-FFF2-40B4-BE49-F238E27FC236}">
                  <a16:creationId xmlns:a16="http://schemas.microsoft.com/office/drawing/2014/main" id="{9971A316-999C-4541-BAF3-4AD5A4AAA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0887" y="1863675"/>
              <a:ext cx="74612" cy="127000"/>
            </a:xfrm>
            <a:custGeom>
              <a:avLst/>
              <a:gdLst>
                <a:gd name="T0" fmla="*/ 11192 w 20"/>
                <a:gd name="T1" fmla="*/ 127000 h 34"/>
                <a:gd name="T2" fmla="*/ 0 w 20"/>
                <a:gd name="T3" fmla="*/ 115794 h 34"/>
                <a:gd name="T4" fmla="*/ 11192 w 20"/>
                <a:gd name="T5" fmla="*/ 108324 h 34"/>
                <a:gd name="T6" fmla="*/ 55959 w 20"/>
                <a:gd name="T7" fmla="*/ 63500 h 34"/>
                <a:gd name="T8" fmla="*/ 11192 w 20"/>
                <a:gd name="T9" fmla="*/ 18676 h 34"/>
                <a:gd name="T10" fmla="*/ 0 w 20"/>
                <a:gd name="T11" fmla="*/ 7471 h 34"/>
                <a:gd name="T12" fmla="*/ 11192 w 20"/>
                <a:gd name="T13" fmla="*/ 0 h 34"/>
                <a:gd name="T14" fmla="*/ 74612 w 20"/>
                <a:gd name="T15" fmla="*/ 63500 h 34"/>
                <a:gd name="T16" fmla="*/ 11192 w 20"/>
                <a:gd name="T17" fmla="*/ 127000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34">
                  <a:moveTo>
                    <a:pt x="3" y="34"/>
                  </a:moveTo>
                  <a:cubicBezTo>
                    <a:pt x="1" y="34"/>
                    <a:pt x="0" y="33"/>
                    <a:pt x="0" y="31"/>
                  </a:cubicBezTo>
                  <a:cubicBezTo>
                    <a:pt x="0" y="30"/>
                    <a:pt x="1" y="29"/>
                    <a:pt x="3" y="29"/>
                  </a:cubicBezTo>
                  <a:cubicBezTo>
                    <a:pt x="9" y="29"/>
                    <a:pt x="15" y="24"/>
                    <a:pt x="15" y="17"/>
                  </a:cubicBezTo>
                  <a:cubicBezTo>
                    <a:pt x="15" y="10"/>
                    <a:pt x="9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2" y="0"/>
                    <a:pt x="20" y="8"/>
                    <a:pt x="20" y="17"/>
                  </a:cubicBezTo>
                  <a:cubicBezTo>
                    <a:pt x="20" y="26"/>
                    <a:pt x="12" y="34"/>
                    <a:pt x="3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6" name="Freeform 276">
              <a:extLst>
                <a:ext uri="{FF2B5EF4-FFF2-40B4-BE49-F238E27FC236}">
                  <a16:creationId xmlns:a16="http://schemas.microsoft.com/office/drawing/2014/main" id="{34B50752-043A-4071-BE21-2135FF859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0887" y="1806525"/>
              <a:ext cx="127000" cy="236537"/>
            </a:xfrm>
            <a:custGeom>
              <a:avLst/>
              <a:gdLst>
                <a:gd name="T0" fmla="*/ 11206 w 34"/>
                <a:gd name="T1" fmla="*/ 236537 h 63"/>
                <a:gd name="T2" fmla="*/ 0 w 34"/>
                <a:gd name="T3" fmla="*/ 229028 h 63"/>
                <a:gd name="T4" fmla="*/ 11206 w 34"/>
                <a:gd name="T5" fmla="*/ 221519 h 63"/>
                <a:gd name="T6" fmla="*/ 108324 w 34"/>
                <a:gd name="T7" fmla="*/ 120146 h 63"/>
                <a:gd name="T8" fmla="*/ 11206 w 34"/>
                <a:gd name="T9" fmla="*/ 18773 h 63"/>
                <a:gd name="T10" fmla="*/ 0 w 34"/>
                <a:gd name="T11" fmla="*/ 11264 h 63"/>
                <a:gd name="T12" fmla="*/ 11206 w 34"/>
                <a:gd name="T13" fmla="*/ 0 h 63"/>
                <a:gd name="T14" fmla="*/ 127000 w 34"/>
                <a:gd name="T15" fmla="*/ 120146 h 63"/>
                <a:gd name="T16" fmla="*/ 11206 w 34"/>
                <a:gd name="T17" fmla="*/ 236537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63">
                  <a:moveTo>
                    <a:pt x="3" y="63"/>
                  </a:moveTo>
                  <a:cubicBezTo>
                    <a:pt x="1" y="63"/>
                    <a:pt x="0" y="62"/>
                    <a:pt x="0" y="61"/>
                  </a:cubicBezTo>
                  <a:cubicBezTo>
                    <a:pt x="0" y="60"/>
                    <a:pt x="1" y="59"/>
                    <a:pt x="3" y="59"/>
                  </a:cubicBezTo>
                  <a:cubicBezTo>
                    <a:pt x="17" y="59"/>
                    <a:pt x="29" y="47"/>
                    <a:pt x="29" y="32"/>
                  </a:cubicBezTo>
                  <a:cubicBezTo>
                    <a:pt x="29" y="17"/>
                    <a:pt x="17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0" y="0"/>
                    <a:pt x="34" y="14"/>
                    <a:pt x="34" y="32"/>
                  </a:cubicBezTo>
                  <a:cubicBezTo>
                    <a:pt x="34" y="49"/>
                    <a:pt x="20" y="63"/>
                    <a:pt x="3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Freeform 277">
              <a:extLst>
                <a:ext uri="{FF2B5EF4-FFF2-40B4-BE49-F238E27FC236}">
                  <a16:creationId xmlns:a16="http://schemas.microsoft.com/office/drawing/2014/main" id="{40D054BA-1645-4717-8F5C-94B0B7104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0887" y="1754138"/>
              <a:ext cx="182562" cy="346075"/>
            </a:xfrm>
            <a:custGeom>
              <a:avLst/>
              <a:gdLst>
                <a:gd name="T0" fmla="*/ 11177 w 49"/>
                <a:gd name="T1" fmla="*/ 346075 h 92"/>
                <a:gd name="T2" fmla="*/ 0 w 49"/>
                <a:gd name="T3" fmla="*/ 338552 h 92"/>
                <a:gd name="T4" fmla="*/ 11177 w 49"/>
                <a:gd name="T5" fmla="*/ 327267 h 92"/>
                <a:gd name="T6" fmla="*/ 163933 w 49"/>
                <a:gd name="T7" fmla="*/ 173038 h 92"/>
                <a:gd name="T8" fmla="*/ 11177 w 49"/>
                <a:gd name="T9" fmla="*/ 18808 h 92"/>
                <a:gd name="T10" fmla="*/ 0 w 49"/>
                <a:gd name="T11" fmla="*/ 7523 h 92"/>
                <a:gd name="T12" fmla="*/ 11177 w 49"/>
                <a:gd name="T13" fmla="*/ 0 h 92"/>
                <a:gd name="T14" fmla="*/ 182562 w 49"/>
                <a:gd name="T15" fmla="*/ 173038 h 92"/>
                <a:gd name="T16" fmla="*/ 11177 w 49"/>
                <a:gd name="T17" fmla="*/ 346075 h 9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92">
                  <a:moveTo>
                    <a:pt x="3" y="92"/>
                  </a:moveTo>
                  <a:cubicBezTo>
                    <a:pt x="1" y="92"/>
                    <a:pt x="0" y="91"/>
                    <a:pt x="0" y="90"/>
                  </a:cubicBezTo>
                  <a:cubicBezTo>
                    <a:pt x="0" y="88"/>
                    <a:pt x="1" y="87"/>
                    <a:pt x="3" y="87"/>
                  </a:cubicBezTo>
                  <a:cubicBezTo>
                    <a:pt x="25" y="87"/>
                    <a:pt x="44" y="69"/>
                    <a:pt x="44" y="46"/>
                  </a:cubicBezTo>
                  <a:cubicBezTo>
                    <a:pt x="44" y="23"/>
                    <a:pt x="25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49" y="20"/>
                    <a:pt x="49" y="46"/>
                  </a:cubicBezTo>
                  <a:cubicBezTo>
                    <a:pt x="49" y="71"/>
                    <a:pt x="28" y="92"/>
                    <a:pt x="3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Freeform 278">
              <a:extLst>
                <a:ext uri="{FF2B5EF4-FFF2-40B4-BE49-F238E27FC236}">
                  <a16:creationId xmlns:a16="http://schemas.microsoft.com/office/drawing/2014/main" id="{1A6860A8-DFB6-4939-BC6A-81180D45F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912" y="1916063"/>
              <a:ext cx="180975" cy="19050"/>
            </a:xfrm>
            <a:custGeom>
              <a:avLst/>
              <a:gdLst>
                <a:gd name="T0" fmla="*/ 173434 w 48"/>
                <a:gd name="T1" fmla="*/ 19050 h 5"/>
                <a:gd name="T2" fmla="*/ 7541 w 48"/>
                <a:gd name="T3" fmla="*/ 19050 h 5"/>
                <a:gd name="T4" fmla="*/ 0 w 48"/>
                <a:gd name="T5" fmla="*/ 11430 h 5"/>
                <a:gd name="T6" fmla="*/ 7541 w 48"/>
                <a:gd name="T7" fmla="*/ 0 h 5"/>
                <a:gd name="T8" fmla="*/ 173434 w 48"/>
                <a:gd name="T9" fmla="*/ 0 h 5"/>
                <a:gd name="T10" fmla="*/ 180975 w 48"/>
                <a:gd name="T11" fmla="*/ 11430 h 5"/>
                <a:gd name="T12" fmla="*/ 173434 w 48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8" h="5">
                  <a:moveTo>
                    <a:pt x="4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2"/>
                    <a:pt x="48" y="3"/>
                  </a:cubicBezTo>
                  <a:cubicBezTo>
                    <a:pt x="48" y="4"/>
                    <a:pt x="47" y="5"/>
                    <a:pt x="46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" name="Freeform 279">
              <a:extLst>
                <a:ext uri="{FF2B5EF4-FFF2-40B4-BE49-F238E27FC236}">
                  <a16:creationId xmlns:a16="http://schemas.microsoft.com/office/drawing/2014/main" id="{7AD79B7C-2D62-4563-8E41-BC4B6A742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9449" y="1863675"/>
              <a:ext cx="71437" cy="71437"/>
            </a:xfrm>
            <a:custGeom>
              <a:avLst/>
              <a:gdLst>
                <a:gd name="T0" fmla="*/ 63917 w 19"/>
                <a:gd name="T1" fmla="*/ 71437 h 19"/>
                <a:gd name="T2" fmla="*/ 56398 w 19"/>
                <a:gd name="T3" fmla="*/ 71437 h 19"/>
                <a:gd name="T4" fmla="*/ 0 w 19"/>
                <a:gd name="T5" fmla="*/ 15039 h 19"/>
                <a:gd name="T6" fmla="*/ 0 w 19"/>
                <a:gd name="T7" fmla="*/ 3760 h 19"/>
                <a:gd name="T8" fmla="*/ 15039 w 19"/>
                <a:gd name="T9" fmla="*/ 3760 h 19"/>
                <a:gd name="T10" fmla="*/ 67677 w 19"/>
                <a:gd name="T11" fmla="*/ 56398 h 19"/>
                <a:gd name="T12" fmla="*/ 67677 w 19"/>
                <a:gd name="T13" fmla="*/ 71437 h 19"/>
                <a:gd name="T14" fmla="*/ 63917 w 19"/>
                <a:gd name="T15" fmla="*/ 7143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9">
                  <a:moveTo>
                    <a:pt x="17" y="19"/>
                  </a:moveTo>
                  <a:cubicBezTo>
                    <a:pt x="16" y="19"/>
                    <a:pt x="16" y="19"/>
                    <a:pt x="15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6"/>
                    <a:pt x="19" y="18"/>
                    <a:pt x="18" y="19"/>
                  </a:cubicBezTo>
                  <a:cubicBezTo>
                    <a:pt x="18" y="19"/>
                    <a:pt x="17" y="19"/>
                    <a:pt x="17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" name="Freeform 280">
              <a:extLst>
                <a:ext uri="{FF2B5EF4-FFF2-40B4-BE49-F238E27FC236}">
                  <a16:creationId xmlns:a16="http://schemas.microsoft.com/office/drawing/2014/main" id="{D677FD2B-E1B3-451C-BFC5-C9437AA45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9449" y="1916063"/>
              <a:ext cx="71437" cy="74612"/>
            </a:xfrm>
            <a:custGeom>
              <a:avLst/>
              <a:gdLst>
                <a:gd name="T0" fmla="*/ 7520 w 19"/>
                <a:gd name="T1" fmla="*/ 74612 h 20"/>
                <a:gd name="T2" fmla="*/ 0 w 19"/>
                <a:gd name="T3" fmla="*/ 70881 h 20"/>
                <a:gd name="T4" fmla="*/ 0 w 19"/>
                <a:gd name="T5" fmla="*/ 59690 h 20"/>
                <a:gd name="T6" fmla="*/ 56398 w 19"/>
                <a:gd name="T7" fmla="*/ 3731 h 20"/>
                <a:gd name="T8" fmla="*/ 67677 w 19"/>
                <a:gd name="T9" fmla="*/ 3731 h 20"/>
                <a:gd name="T10" fmla="*/ 67677 w 19"/>
                <a:gd name="T11" fmla="*/ 18653 h 20"/>
                <a:gd name="T12" fmla="*/ 15039 w 19"/>
                <a:gd name="T13" fmla="*/ 70881 h 20"/>
                <a:gd name="T14" fmla="*/ 7520 w 19"/>
                <a:gd name="T15" fmla="*/ 74612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20">
                  <a:moveTo>
                    <a:pt x="2" y="20"/>
                  </a:moveTo>
                  <a:cubicBezTo>
                    <a:pt x="2" y="20"/>
                    <a:pt x="1" y="20"/>
                    <a:pt x="0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8" y="0"/>
                    <a:pt x="18" y="1"/>
                  </a:cubicBezTo>
                  <a:cubicBezTo>
                    <a:pt x="19" y="2"/>
                    <a:pt x="19" y="4"/>
                    <a:pt x="18" y="5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20"/>
                    <a:pt x="3" y="20"/>
                    <a:pt x="2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1" name="Group 3">
            <a:extLst>
              <a:ext uri="{FF2B5EF4-FFF2-40B4-BE49-F238E27FC236}">
                <a16:creationId xmlns:a16="http://schemas.microsoft.com/office/drawing/2014/main" id="{F01FCD03-71C9-4E5C-A7DC-BDB92F5E0213}"/>
              </a:ext>
            </a:extLst>
          </p:cNvPr>
          <p:cNvGrpSpPr>
            <a:grpSpLocks/>
          </p:cNvGrpSpPr>
          <p:nvPr/>
        </p:nvGrpSpPr>
        <p:grpSpPr bwMode="auto">
          <a:xfrm>
            <a:off x="4334384" y="4111207"/>
            <a:ext cx="3810000" cy="728663"/>
            <a:chOff x="2609924" y="3700413"/>
            <a:chExt cx="3810000" cy="728662"/>
          </a:xfrm>
        </p:grpSpPr>
        <p:sp>
          <p:nvSpPr>
            <p:cNvPr id="22" name="Oval 281">
              <a:extLst>
                <a:ext uri="{FF2B5EF4-FFF2-40B4-BE49-F238E27FC236}">
                  <a16:creationId xmlns:a16="http://schemas.microsoft.com/office/drawing/2014/main" id="{A0B1B19E-5DDB-41A1-B067-07879E5625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262" y="3700413"/>
              <a:ext cx="728662" cy="728662"/>
            </a:xfrm>
            <a:prstGeom prst="ellipse">
              <a:avLst/>
            </a:prstGeom>
            <a:solidFill>
              <a:srgbClr val="40A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endParaRPr lang="zh-CN" altLang="zh-CN"/>
            </a:p>
          </p:txBody>
        </p:sp>
        <p:sp>
          <p:nvSpPr>
            <p:cNvPr id="23" name="Freeform 282">
              <a:extLst>
                <a:ext uri="{FF2B5EF4-FFF2-40B4-BE49-F238E27FC236}">
                  <a16:creationId xmlns:a16="http://schemas.microsoft.com/office/drawing/2014/main" id="{6297607F-02DB-4BA1-80AE-7673B8DB09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4299" y="3982988"/>
              <a:ext cx="382587" cy="234950"/>
            </a:xfrm>
            <a:custGeom>
              <a:avLst/>
              <a:gdLst>
                <a:gd name="T0" fmla="*/ 318823 w 102"/>
                <a:gd name="T1" fmla="*/ 234950 h 63"/>
                <a:gd name="T2" fmla="*/ 11253 w 102"/>
                <a:gd name="T3" fmla="*/ 234950 h 63"/>
                <a:gd name="T4" fmla="*/ 0 w 102"/>
                <a:gd name="T5" fmla="*/ 227491 h 63"/>
                <a:gd name="T6" fmla="*/ 0 w 102"/>
                <a:gd name="T7" fmla="*/ 11188 h 63"/>
                <a:gd name="T8" fmla="*/ 11253 w 102"/>
                <a:gd name="T9" fmla="*/ 0 h 63"/>
                <a:gd name="T10" fmla="*/ 375085 w 102"/>
                <a:gd name="T11" fmla="*/ 0 h 63"/>
                <a:gd name="T12" fmla="*/ 382587 w 102"/>
                <a:gd name="T13" fmla="*/ 11188 h 63"/>
                <a:gd name="T14" fmla="*/ 382587 w 102"/>
                <a:gd name="T15" fmla="*/ 171551 h 63"/>
                <a:gd name="T16" fmla="*/ 318823 w 102"/>
                <a:gd name="T17" fmla="*/ 234950 h 63"/>
                <a:gd name="T18" fmla="*/ 18754 w 102"/>
                <a:gd name="T19" fmla="*/ 220033 h 63"/>
                <a:gd name="T20" fmla="*/ 318823 w 102"/>
                <a:gd name="T21" fmla="*/ 220033 h 63"/>
                <a:gd name="T22" fmla="*/ 363833 w 102"/>
                <a:gd name="T23" fmla="*/ 171551 h 63"/>
                <a:gd name="T24" fmla="*/ 363833 w 102"/>
                <a:gd name="T25" fmla="*/ 18647 h 63"/>
                <a:gd name="T26" fmla="*/ 18754 w 102"/>
                <a:gd name="T27" fmla="*/ 18647 h 63"/>
                <a:gd name="T28" fmla="*/ 18754 w 102"/>
                <a:gd name="T29" fmla="*/ 220033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2" h="63">
                  <a:moveTo>
                    <a:pt x="85" y="63"/>
                  </a:moveTo>
                  <a:cubicBezTo>
                    <a:pt x="3" y="63"/>
                    <a:pt x="3" y="63"/>
                    <a:pt x="3" y="63"/>
                  </a:cubicBezTo>
                  <a:cubicBezTo>
                    <a:pt x="1" y="63"/>
                    <a:pt x="0" y="62"/>
                    <a:pt x="0" y="6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2" y="3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56"/>
                    <a:pt x="95" y="63"/>
                    <a:pt x="85" y="63"/>
                  </a:cubicBezTo>
                  <a:close/>
                  <a:moveTo>
                    <a:pt x="5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92" y="59"/>
                    <a:pt x="97" y="53"/>
                    <a:pt x="97" y="46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" name="Freeform 283">
              <a:extLst>
                <a:ext uri="{FF2B5EF4-FFF2-40B4-BE49-F238E27FC236}">
                  <a16:creationId xmlns:a16="http://schemas.microsoft.com/office/drawing/2014/main" id="{034EF974-2086-4727-A0D6-CAC2B1644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7012" y="3930600"/>
              <a:ext cx="161925" cy="69850"/>
            </a:xfrm>
            <a:custGeom>
              <a:avLst/>
              <a:gdLst>
                <a:gd name="T0" fmla="*/ 154394 w 43"/>
                <a:gd name="T1" fmla="*/ 69850 h 19"/>
                <a:gd name="T2" fmla="*/ 7531 w 43"/>
                <a:gd name="T3" fmla="*/ 69850 h 19"/>
                <a:gd name="T4" fmla="*/ 0 w 43"/>
                <a:gd name="T5" fmla="*/ 62497 h 19"/>
                <a:gd name="T6" fmla="*/ 0 w 43"/>
                <a:gd name="T7" fmla="*/ 7353 h 19"/>
                <a:gd name="T8" fmla="*/ 7531 w 43"/>
                <a:gd name="T9" fmla="*/ 0 h 19"/>
                <a:gd name="T10" fmla="*/ 154394 w 43"/>
                <a:gd name="T11" fmla="*/ 0 h 19"/>
                <a:gd name="T12" fmla="*/ 161925 w 43"/>
                <a:gd name="T13" fmla="*/ 7353 h 19"/>
                <a:gd name="T14" fmla="*/ 161925 w 43"/>
                <a:gd name="T15" fmla="*/ 62497 h 19"/>
                <a:gd name="T16" fmla="*/ 154394 w 43"/>
                <a:gd name="T17" fmla="*/ 69850 h 19"/>
                <a:gd name="T18" fmla="*/ 15063 w 43"/>
                <a:gd name="T19" fmla="*/ 51468 h 19"/>
                <a:gd name="T20" fmla="*/ 143097 w 43"/>
                <a:gd name="T21" fmla="*/ 51468 h 19"/>
                <a:gd name="T22" fmla="*/ 143097 w 43"/>
                <a:gd name="T23" fmla="*/ 18382 h 19"/>
                <a:gd name="T24" fmla="*/ 15063 w 43"/>
                <a:gd name="T25" fmla="*/ 18382 h 19"/>
                <a:gd name="T26" fmla="*/ 15063 w 43"/>
                <a:gd name="T27" fmla="*/ 51468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3" h="19">
                  <a:moveTo>
                    <a:pt x="41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1"/>
                    <a:pt x="43" y="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8"/>
                    <a:pt x="42" y="19"/>
                    <a:pt x="41" y="19"/>
                  </a:cubicBezTo>
                  <a:close/>
                  <a:moveTo>
                    <a:pt x="4" y="14"/>
                  </a:moveTo>
                  <a:cubicBezTo>
                    <a:pt x="38" y="14"/>
                    <a:pt x="38" y="14"/>
                    <a:pt x="38" y="1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" name="Freeform 284">
              <a:extLst>
                <a:ext uri="{FF2B5EF4-FFF2-40B4-BE49-F238E27FC236}">
                  <a16:creationId xmlns:a16="http://schemas.microsoft.com/office/drawing/2014/main" id="{100DF019-B1BA-41A9-AFBB-57C11005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962" y="4057600"/>
              <a:ext cx="161925" cy="19050"/>
            </a:xfrm>
            <a:custGeom>
              <a:avLst/>
              <a:gdLst>
                <a:gd name="T0" fmla="*/ 154394 w 43"/>
                <a:gd name="T1" fmla="*/ 19050 h 5"/>
                <a:gd name="T2" fmla="*/ 7531 w 43"/>
                <a:gd name="T3" fmla="*/ 19050 h 5"/>
                <a:gd name="T4" fmla="*/ 0 w 43"/>
                <a:gd name="T5" fmla="*/ 7620 h 5"/>
                <a:gd name="T6" fmla="*/ 7531 w 43"/>
                <a:gd name="T7" fmla="*/ 0 h 5"/>
                <a:gd name="T8" fmla="*/ 154394 w 43"/>
                <a:gd name="T9" fmla="*/ 0 h 5"/>
                <a:gd name="T10" fmla="*/ 161925 w 43"/>
                <a:gd name="T11" fmla="*/ 7620 h 5"/>
                <a:gd name="T12" fmla="*/ 154394 w 43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3" h="5">
                  <a:moveTo>
                    <a:pt x="41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1"/>
                    <a:pt x="43" y="2"/>
                  </a:cubicBezTo>
                  <a:cubicBezTo>
                    <a:pt x="43" y="4"/>
                    <a:pt x="42" y="5"/>
                    <a:pt x="4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6" name="Freeform 285">
              <a:extLst>
                <a:ext uri="{FF2B5EF4-FFF2-40B4-BE49-F238E27FC236}">
                  <a16:creationId xmlns:a16="http://schemas.microsoft.com/office/drawing/2014/main" id="{2125DA1E-9A94-4668-8DB2-A8A44414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99" y="4057600"/>
              <a:ext cx="127000" cy="19050"/>
            </a:xfrm>
            <a:custGeom>
              <a:avLst/>
              <a:gdLst>
                <a:gd name="T0" fmla="*/ 119529 w 34"/>
                <a:gd name="T1" fmla="*/ 19050 h 5"/>
                <a:gd name="T2" fmla="*/ 11206 w 34"/>
                <a:gd name="T3" fmla="*/ 19050 h 5"/>
                <a:gd name="T4" fmla="*/ 0 w 34"/>
                <a:gd name="T5" fmla="*/ 7620 h 5"/>
                <a:gd name="T6" fmla="*/ 11206 w 34"/>
                <a:gd name="T7" fmla="*/ 0 h 5"/>
                <a:gd name="T8" fmla="*/ 119529 w 34"/>
                <a:gd name="T9" fmla="*/ 0 h 5"/>
                <a:gd name="T10" fmla="*/ 127000 w 34"/>
                <a:gd name="T11" fmla="*/ 7620 h 5"/>
                <a:gd name="T12" fmla="*/ 119529 w 34"/>
                <a:gd name="T13" fmla="*/ 1905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5">
                  <a:moveTo>
                    <a:pt x="3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4" y="1"/>
                    <a:pt x="34" y="2"/>
                  </a:cubicBezTo>
                  <a:cubicBezTo>
                    <a:pt x="34" y="4"/>
                    <a:pt x="33" y="5"/>
                    <a:pt x="3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" name="Freeform 286">
              <a:extLst>
                <a:ext uri="{FF2B5EF4-FFF2-40B4-BE49-F238E27FC236}">
                  <a16:creationId xmlns:a16="http://schemas.microsoft.com/office/drawing/2014/main" id="{C1957231-3DC5-4FB8-A433-F83F936A41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0349" y="4038550"/>
              <a:ext cx="90487" cy="71437"/>
            </a:xfrm>
            <a:custGeom>
              <a:avLst/>
              <a:gdLst>
                <a:gd name="T0" fmla="*/ 82946 w 24"/>
                <a:gd name="T1" fmla="*/ 71437 h 19"/>
                <a:gd name="T2" fmla="*/ 11311 w 24"/>
                <a:gd name="T3" fmla="*/ 71437 h 19"/>
                <a:gd name="T4" fmla="*/ 0 w 24"/>
                <a:gd name="T5" fmla="*/ 63917 h 19"/>
                <a:gd name="T6" fmla="*/ 0 w 24"/>
                <a:gd name="T7" fmla="*/ 7520 h 19"/>
                <a:gd name="T8" fmla="*/ 11311 w 24"/>
                <a:gd name="T9" fmla="*/ 0 h 19"/>
                <a:gd name="T10" fmla="*/ 82946 w 24"/>
                <a:gd name="T11" fmla="*/ 0 h 19"/>
                <a:gd name="T12" fmla="*/ 90487 w 24"/>
                <a:gd name="T13" fmla="*/ 7520 h 19"/>
                <a:gd name="T14" fmla="*/ 90487 w 24"/>
                <a:gd name="T15" fmla="*/ 63917 h 19"/>
                <a:gd name="T16" fmla="*/ 82946 w 24"/>
                <a:gd name="T17" fmla="*/ 71437 h 19"/>
                <a:gd name="T18" fmla="*/ 18851 w 24"/>
                <a:gd name="T19" fmla="*/ 52638 h 19"/>
                <a:gd name="T20" fmla="*/ 75406 w 24"/>
                <a:gd name="T21" fmla="*/ 52638 h 19"/>
                <a:gd name="T22" fmla="*/ 75406 w 24"/>
                <a:gd name="T23" fmla="*/ 18799 h 19"/>
                <a:gd name="T24" fmla="*/ 18851 w 24"/>
                <a:gd name="T25" fmla="*/ 18799 h 19"/>
                <a:gd name="T26" fmla="*/ 18851 w 24"/>
                <a:gd name="T27" fmla="*/ 52638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4" h="19">
                  <a:moveTo>
                    <a:pt x="22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8"/>
                    <a:pt x="23" y="19"/>
                    <a:pt x="22" y="19"/>
                  </a:cubicBezTo>
                  <a:close/>
                  <a:moveTo>
                    <a:pt x="5" y="14"/>
                  </a:moveTo>
                  <a:cubicBezTo>
                    <a:pt x="20" y="14"/>
                    <a:pt x="20" y="14"/>
                    <a:pt x="20" y="1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8" name="Oval 287">
              <a:extLst>
                <a:ext uri="{FF2B5EF4-FFF2-40B4-BE49-F238E27FC236}">
                  <a16:creationId xmlns:a16="http://schemas.microsoft.com/office/drawing/2014/main" id="{6BFB180F-1B0E-4892-A877-E53F2E044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924" y="3700413"/>
              <a:ext cx="727075" cy="728662"/>
            </a:xfrm>
            <a:prstGeom prst="ellipse">
              <a:avLst/>
            </a:prstGeom>
            <a:solidFill>
              <a:srgbClr val="7D7D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endParaRPr lang="zh-CN" altLang="zh-CN"/>
            </a:p>
          </p:txBody>
        </p:sp>
        <p:sp>
          <p:nvSpPr>
            <p:cNvPr id="29" name="Freeform 288">
              <a:extLst>
                <a:ext uri="{FF2B5EF4-FFF2-40B4-BE49-F238E27FC236}">
                  <a16:creationId xmlns:a16="http://schemas.microsoft.com/office/drawing/2014/main" id="{9CA81F40-6602-4B2C-8635-356CCCD1B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6137" y="3911550"/>
              <a:ext cx="344487" cy="344487"/>
            </a:xfrm>
            <a:custGeom>
              <a:avLst/>
              <a:gdLst>
                <a:gd name="T0" fmla="*/ 194710 w 92"/>
                <a:gd name="T1" fmla="*/ 344487 h 92"/>
                <a:gd name="T2" fmla="*/ 190966 w 92"/>
                <a:gd name="T3" fmla="*/ 344487 h 92"/>
                <a:gd name="T4" fmla="*/ 183477 w 92"/>
                <a:gd name="T5" fmla="*/ 336998 h 92"/>
                <a:gd name="T6" fmla="*/ 119822 w 92"/>
                <a:gd name="T7" fmla="*/ 224665 h 92"/>
                <a:gd name="T8" fmla="*/ 7489 w 92"/>
                <a:gd name="T9" fmla="*/ 161010 h 92"/>
                <a:gd name="T10" fmla="*/ 0 w 92"/>
                <a:gd name="T11" fmla="*/ 153521 h 92"/>
                <a:gd name="T12" fmla="*/ 3744 w 92"/>
                <a:gd name="T13" fmla="*/ 146033 h 92"/>
                <a:gd name="T14" fmla="*/ 3744 w 92"/>
                <a:gd name="T15" fmla="*/ 142288 h 92"/>
                <a:gd name="T16" fmla="*/ 56166 w 92"/>
                <a:gd name="T17" fmla="*/ 112333 h 92"/>
                <a:gd name="T18" fmla="*/ 97355 w 92"/>
                <a:gd name="T19" fmla="*/ 104844 h 92"/>
                <a:gd name="T20" fmla="*/ 112333 w 92"/>
                <a:gd name="T21" fmla="*/ 104844 h 92"/>
                <a:gd name="T22" fmla="*/ 119822 w 92"/>
                <a:gd name="T23" fmla="*/ 97355 h 92"/>
                <a:gd name="T24" fmla="*/ 333254 w 92"/>
                <a:gd name="T25" fmla="*/ 0 h 92"/>
                <a:gd name="T26" fmla="*/ 340743 w 92"/>
                <a:gd name="T27" fmla="*/ 3744 h 92"/>
                <a:gd name="T28" fmla="*/ 344487 w 92"/>
                <a:gd name="T29" fmla="*/ 11233 h 92"/>
                <a:gd name="T30" fmla="*/ 247132 w 92"/>
                <a:gd name="T31" fmla="*/ 224665 h 92"/>
                <a:gd name="T32" fmla="*/ 239643 w 92"/>
                <a:gd name="T33" fmla="*/ 232154 h 92"/>
                <a:gd name="T34" fmla="*/ 239643 w 92"/>
                <a:gd name="T35" fmla="*/ 247132 h 92"/>
                <a:gd name="T36" fmla="*/ 232154 w 92"/>
                <a:gd name="T37" fmla="*/ 288321 h 92"/>
                <a:gd name="T38" fmla="*/ 202199 w 92"/>
                <a:gd name="T39" fmla="*/ 340743 h 92"/>
                <a:gd name="T40" fmla="*/ 198454 w 92"/>
                <a:gd name="T41" fmla="*/ 340743 h 92"/>
                <a:gd name="T42" fmla="*/ 194710 w 92"/>
                <a:gd name="T43" fmla="*/ 344487 h 92"/>
                <a:gd name="T44" fmla="*/ 29955 w 92"/>
                <a:gd name="T45" fmla="*/ 146033 h 92"/>
                <a:gd name="T46" fmla="*/ 131055 w 92"/>
                <a:gd name="T47" fmla="*/ 213432 h 92"/>
                <a:gd name="T48" fmla="*/ 198454 w 92"/>
                <a:gd name="T49" fmla="*/ 314532 h 92"/>
                <a:gd name="T50" fmla="*/ 213432 w 92"/>
                <a:gd name="T51" fmla="*/ 284576 h 92"/>
                <a:gd name="T52" fmla="*/ 220921 w 92"/>
                <a:gd name="T53" fmla="*/ 243388 h 92"/>
                <a:gd name="T54" fmla="*/ 228410 w 92"/>
                <a:gd name="T55" fmla="*/ 220921 h 92"/>
                <a:gd name="T56" fmla="*/ 235899 w 92"/>
                <a:gd name="T57" fmla="*/ 213432 h 92"/>
                <a:gd name="T58" fmla="*/ 325765 w 92"/>
                <a:gd name="T59" fmla="*/ 22467 h 92"/>
                <a:gd name="T60" fmla="*/ 131055 w 92"/>
                <a:gd name="T61" fmla="*/ 108588 h 92"/>
                <a:gd name="T62" fmla="*/ 123566 w 92"/>
                <a:gd name="T63" fmla="*/ 116077 h 92"/>
                <a:gd name="T64" fmla="*/ 101099 w 92"/>
                <a:gd name="T65" fmla="*/ 123566 h 92"/>
                <a:gd name="T66" fmla="*/ 59911 w 92"/>
                <a:gd name="T67" fmla="*/ 131055 h 92"/>
                <a:gd name="T68" fmla="*/ 29955 w 92"/>
                <a:gd name="T69" fmla="*/ 146033 h 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92" h="92">
                  <a:moveTo>
                    <a:pt x="52" y="92"/>
                  </a:moveTo>
                  <a:cubicBezTo>
                    <a:pt x="51" y="92"/>
                    <a:pt x="51" y="92"/>
                    <a:pt x="51" y="92"/>
                  </a:cubicBezTo>
                  <a:cubicBezTo>
                    <a:pt x="50" y="91"/>
                    <a:pt x="49" y="91"/>
                    <a:pt x="49" y="90"/>
                  </a:cubicBezTo>
                  <a:cubicBezTo>
                    <a:pt x="49" y="82"/>
                    <a:pt x="42" y="70"/>
                    <a:pt x="32" y="60"/>
                  </a:cubicBezTo>
                  <a:cubicBezTo>
                    <a:pt x="22" y="50"/>
                    <a:pt x="10" y="43"/>
                    <a:pt x="2" y="43"/>
                  </a:cubicBezTo>
                  <a:cubicBezTo>
                    <a:pt x="1" y="43"/>
                    <a:pt x="0" y="42"/>
                    <a:pt x="0" y="41"/>
                  </a:cubicBezTo>
                  <a:cubicBezTo>
                    <a:pt x="0" y="40"/>
                    <a:pt x="0" y="39"/>
                    <a:pt x="1" y="39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4" y="35"/>
                    <a:pt x="9" y="32"/>
                    <a:pt x="15" y="30"/>
                  </a:cubicBezTo>
                  <a:cubicBezTo>
                    <a:pt x="19" y="29"/>
                    <a:pt x="23" y="29"/>
                    <a:pt x="26" y="28"/>
                  </a:cubicBezTo>
                  <a:cubicBezTo>
                    <a:pt x="27" y="28"/>
                    <a:pt x="29" y="28"/>
                    <a:pt x="30" y="28"/>
                  </a:cubicBezTo>
                  <a:cubicBezTo>
                    <a:pt x="30" y="27"/>
                    <a:pt x="31" y="27"/>
                    <a:pt x="32" y="26"/>
                  </a:cubicBezTo>
                  <a:cubicBezTo>
                    <a:pt x="55" y="3"/>
                    <a:pt x="88" y="0"/>
                    <a:pt x="89" y="0"/>
                  </a:cubicBezTo>
                  <a:cubicBezTo>
                    <a:pt x="90" y="0"/>
                    <a:pt x="91" y="1"/>
                    <a:pt x="91" y="1"/>
                  </a:cubicBezTo>
                  <a:cubicBezTo>
                    <a:pt x="92" y="2"/>
                    <a:pt x="92" y="2"/>
                    <a:pt x="92" y="3"/>
                  </a:cubicBezTo>
                  <a:cubicBezTo>
                    <a:pt x="92" y="4"/>
                    <a:pt x="89" y="38"/>
                    <a:pt x="66" y="60"/>
                  </a:cubicBezTo>
                  <a:cubicBezTo>
                    <a:pt x="65" y="61"/>
                    <a:pt x="65" y="62"/>
                    <a:pt x="64" y="62"/>
                  </a:cubicBezTo>
                  <a:cubicBezTo>
                    <a:pt x="64" y="63"/>
                    <a:pt x="64" y="65"/>
                    <a:pt x="64" y="66"/>
                  </a:cubicBezTo>
                  <a:cubicBezTo>
                    <a:pt x="63" y="69"/>
                    <a:pt x="63" y="73"/>
                    <a:pt x="62" y="77"/>
                  </a:cubicBezTo>
                  <a:cubicBezTo>
                    <a:pt x="60" y="83"/>
                    <a:pt x="57" y="88"/>
                    <a:pt x="54" y="91"/>
                  </a:cubicBezTo>
                  <a:cubicBezTo>
                    <a:pt x="54" y="91"/>
                    <a:pt x="54" y="91"/>
                    <a:pt x="53" y="91"/>
                  </a:cubicBezTo>
                  <a:cubicBezTo>
                    <a:pt x="53" y="92"/>
                    <a:pt x="52" y="92"/>
                    <a:pt x="52" y="92"/>
                  </a:cubicBezTo>
                  <a:close/>
                  <a:moveTo>
                    <a:pt x="8" y="39"/>
                  </a:moveTo>
                  <a:cubicBezTo>
                    <a:pt x="16" y="41"/>
                    <a:pt x="26" y="48"/>
                    <a:pt x="35" y="57"/>
                  </a:cubicBezTo>
                  <a:cubicBezTo>
                    <a:pt x="44" y="66"/>
                    <a:pt x="51" y="76"/>
                    <a:pt x="53" y="84"/>
                  </a:cubicBezTo>
                  <a:cubicBezTo>
                    <a:pt x="55" y="82"/>
                    <a:pt x="56" y="79"/>
                    <a:pt x="57" y="76"/>
                  </a:cubicBezTo>
                  <a:cubicBezTo>
                    <a:pt x="58" y="72"/>
                    <a:pt x="58" y="68"/>
                    <a:pt x="59" y="65"/>
                  </a:cubicBezTo>
                  <a:cubicBezTo>
                    <a:pt x="59" y="62"/>
                    <a:pt x="59" y="60"/>
                    <a:pt x="61" y="59"/>
                  </a:cubicBezTo>
                  <a:cubicBezTo>
                    <a:pt x="61" y="58"/>
                    <a:pt x="62" y="58"/>
                    <a:pt x="63" y="57"/>
                  </a:cubicBezTo>
                  <a:cubicBezTo>
                    <a:pt x="80" y="39"/>
                    <a:pt x="85" y="14"/>
                    <a:pt x="87" y="6"/>
                  </a:cubicBezTo>
                  <a:cubicBezTo>
                    <a:pt x="78" y="7"/>
                    <a:pt x="53" y="12"/>
                    <a:pt x="35" y="29"/>
                  </a:cubicBezTo>
                  <a:cubicBezTo>
                    <a:pt x="34" y="30"/>
                    <a:pt x="34" y="31"/>
                    <a:pt x="33" y="31"/>
                  </a:cubicBezTo>
                  <a:cubicBezTo>
                    <a:pt x="32" y="33"/>
                    <a:pt x="30" y="33"/>
                    <a:pt x="27" y="33"/>
                  </a:cubicBezTo>
                  <a:cubicBezTo>
                    <a:pt x="24" y="34"/>
                    <a:pt x="20" y="34"/>
                    <a:pt x="16" y="35"/>
                  </a:cubicBezTo>
                  <a:cubicBezTo>
                    <a:pt x="13" y="36"/>
                    <a:pt x="10" y="37"/>
                    <a:pt x="8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Freeform 289">
              <a:extLst>
                <a:ext uri="{FF2B5EF4-FFF2-40B4-BE49-F238E27FC236}">
                  <a16:creationId xmlns:a16="http://schemas.microsoft.com/office/drawing/2014/main" id="{0C8F419E-BEA8-440B-9260-DAFF3DCB2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712" y="4083000"/>
              <a:ext cx="142875" cy="142875"/>
            </a:xfrm>
            <a:custGeom>
              <a:avLst/>
              <a:gdLst>
                <a:gd name="T0" fmla="*/ 7520 w 38"/>
                <a:gd name="T1" fmla="*/ 142875 h 38"/>
                <a:gd name="T2" fmla="*/ 7520 w 38"/>
                <a:gd name="T3" fmla="*/ 142875 h 38"/>
                <a:gd name="T4" fmla="*/ 0 w 38"/>
                <a:gd name="T5" fmla="*/ 131595 h 38"/>
                <a:gd name="T6" fmla="*/ 48878 w 38"/>
                <a:gd name="T7" fmla="*/ 3760 h 38"/>
                <a:gd name="T8" fmla="*/ 60158 w 38"/>
                <a:gd name="T9" fmla="*/ 3760 h 38"/>
                <a:gd name="T10" fmla="*/ 101516 w 38"/>
                <a:gd name="T11" fmla="*/ 41359 h 38"/>
                <a:gd name="T12" fmla="*/ 139115 w 38"/>
                <a:gd name="T13" fmla="*/ 82717 h 38"/>
                <a:gd name="T14" fmla="*/ 139115 w 38"/>
                <a:gd name="T15" fmla="*/ 93997 h 38"/>
                <a:gd name="T16" fmla="*/ 48878 w 38"/>
                <a:gd name="T17" fmla="*/ 135355 h 38"/>
                <a:gd name="T18" fmla="*/ 37599 w 38"/>
                <a:gd name="T19" fmla="*/ 127836 h 38"/>
                <a:gd name="T20" fmla="*/ 45118 w 38"/>
                <a:gd name="T21" fmla="*/ 120316 h 38"/>
                <a:gd name="T22" fmla="*/ 120316 w 38"/>
                <a:gd name="T23" fmla="*/ 86477 h 38"/>
                <a:gd name="T24" fmla="*/ 90237 w 38"/>
                <a:gd name="T25" fmla="*/ 52638 h 38"/>
                <a:gd name="T26" fmla="*/ 56398 w 38"/>
                <a:gd name="T27" fmla="*/ 22559 h 38"/>
                <a:gd name="T28" fmla="*/ 18799 w 38"/>
                <a:gd name="T29" fmla="*/ 135355 h 38"/>
                <a:gd name="T30" fmla="*/ 7520 w 38"/>
                <a:gd name="T31" fmla="*/ 142875 h 3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8" h="38">
                  <a:moveTo>
                    <a:pt x="2" y="38"/>
                  </a:move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7"/>
                    <a:pt x="0" y="35"/>
                  </a:cubicBezTo>
                  <a:cubicBezTo>
                    <a:pt x="0" y="34"/>
                    <a:pt x="4" y="10"/>
                    <a:pt x="13" y="1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20" y="4"/>
                    <a:pt x="24" y="7"/>
                    <a:pt x="27" y="11"/>
                  </a:cubicBezTo>
                  <a:cubicBezTo>
                    <a:pt x="31" y="14"/>
                    <a:pt x="34" y="18"/>
                    <a:pt x="37" y="22"/>
                  </a:cubicBezTo>
                  <a:cubicBezTo>
                    <a:pt x="38" y="23"/>
                    <a:pt x="38" y="24"/>
                    <a:pt x="37" y="25"/>
                  </a:cubicBezTo>
                  <a:cubicBezTo>
                    <a:pt x="28" y="34"/>
                    <a:pt x="14" y="36"/>
                    <a:pt x="13" y="36"/>
                  </a:cubicBezTo>
                  <a:cubicBezTo>
                    <a:pt x="12" y="37"/>
                    <a:pt x="11" y="36"/>
                    <a:pt x="10" y="34"/>
                  </a:cubicBezTo>
                  <a:cubicBezTo>
                    <a:pt x="10" y="33"/>
                    <a:pt x="11" y="32"/>
                    <a:pt x="12" y="32"/>
                  </a:cubicBezTo>
                  <a:cubicBezTo>
                    <a:pt x="13" y="32"/>
                    <a:pt x="24" y="30"/>
                    <a:pt x="32" y="23"/>
                  </a:cubicBezTo>
                  <a:cubicBezTo>
                    <a:pt x="29" y="20"/>
                    <a:pt x="27" y="17"/>
                    <a:pt x="24" y="14"/>
                  </a:cubicBezTo>
                  <a:cubicBezTo>
                    <a:pt x="21" y="11"/>
                    <a:pt x="18" y="9"/>
                    <a:pt x="15" y="6"/>
                  </a:cubicBezTo>
                  <a:cubicBezTo>
                    <a:pt x="8" y="15"/>
                    <a:pt x="5" y="36"/>
                    <a:pt x="5" y="36"/>
                  </a:cubicBezTo>
                  <a:cubicBezTo>
                    <a:pt x="5" y="37"/>
                    <a:pt x="4" y="38"/>
                    <a:pt x="2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Freeform 290">
              <a:extLst>
                <a:ext uri="{FF2B5EF4-FFF2-40B4-BE49-F238E27FC236}">
                  <a16:creationId xmlns:a16="http://schemas.microsoft.com/office/drawing/2014/main" id="{FDFAF2CE-551E-4202-BFEC-FA75F9464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8687" y="4098875"/>
              <a:ext cx="74612" cy="74612"/>
            </a:xfrm>
            <a:custGeom>
              <a:avLst/>
              <a:gdLst>
                <a:gd name="T0" fmla="*/ 7461 w 20"/>
                <a:gd name="T1" fmla="*/ 74612 h 20"/>
                <a:gd name="T2" fmla="*/ 0 w 20"/>
                <a:gd name="T3" fmla="*/ 67151 h 20"/>
                <a:gd name="T4" fmla="*/ 14922 w 20"/>
                <a:gd name="T5" fmla="*/ 3731 h 20"/>
                <a:gd name="T6" fmla="*/ 26114 w 20"/>
                <a:gd name="T7" fmla="*/ 3731 h 20"/>
                <a:gd name="T8" fmla="*/ 48498 w 20"/>
                <a:gd name="T9" fmla="*/ 26114 h 20"/>
                <a:gd name="T10" fmla="*/ 70881 w 20"/>
                <a:gd name="T11" fmla="*/ 48498 h 20"/>
                <a:gd name="T12" fmla="*/ 70881 w 20"/>
                <a:gd name="T13" fmla="*/ 59690 h 20"/>
                <a:gd name="T14" fmla="*/ 7461 w 20"/>
                <a:gd name="T15" fmla="*/ 74612 h 20"/>
                <a:gd name="T16" fmla="*/ 22384 w 20"/>
                <a:gd name="T17" fmla="*/ 22384 h 20"/>
                <a:gd name="T18" fmla="*/ 18653 w 20"/>
                <a:gd name="T19" fmla="*/ 55959 h 20"/>
                <a:gd name="T20" fmla="*/ 52228 w 20"/>
                <a:gd name="T21" fmla="*/ 52228 h 20"/>
                <a:gd name="T22" fmla="*/ 37306 w 20"/>
                <a:gd name="T23" fmla="*/ 37306 h 20"/>
                <a:gd name="T24" fmla="*/ 22384 w 20"/>
                <a:gd name="T25" fmla="*/ 22384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16"/>
                    <a:pt x="0" y="5"/>
                    <a:pt x="4" y="1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9" y="3"/>
                    <a:pt x="11" y="5"/>
                    <a:pt x="13" y="7"/>
                  </a:cubicBezTo>
                  <a:cubicBezTo>
                    <a:pt x="15" y="9"/>
                    <a:pt x="17" y="11"/>
                    <a:pt x="19" y="13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5" y="20"/>
                    <a:pt x="4" y="20"/>
                    <a:pt x="2" y="20"/>
                  </a:cubicBezTo>
                  <a:close/>
                  <a:moveTo>
                    <a:pt x="6" y="6"/>
                  </a:moveTo>
                  <a:cubicBezTo>
                    <a:pt x="5" y="9"/>
                    <a:pt x="5" y="12"/>
                    <a:pt x="5" y="15"/>
                  </a:cubicBezTo>
                  <a:cubicBezTo>
                    <a:pt x="8" y="15"/>
                    <a:pt x="11" y="15"/>
                    <a:pt x="14" y="14"/>
                  </a:cubicBezTo>
                  <a:cubicBezTo>
                    <a:pt x="12" y="13"/>
                    <a:pt x="11" y="11"/>
                    <a:pt x="10" y="10"/>
                  </a:cubicBezTo>
                  <a:cubicBezTo>
                    <a:pt x="9" y="9"/>
                    <a:pt x="7" y="8"/>
                    <a:pt x="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Freeform 291">
              <a:extLst>
                <a:ext uri="{FF2B5EF4-FFF2-40B4-BE49-F238E27FC236}">
                  <a16:creationId xmlns:a16="http://schemas.microsoft.com/office/drawing/2014/main" id="{04DDF3F1-288F-4718-B465-B8D75BBFD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8699" y="3975050"/>
              <a:ext cx="93662" cy="93662"/>
            </a:xfrm>
            <a:custGeom>
              <a:avLst/>
              <a:gdLst>
                <a:gd name="T0" fmla="*/ 48704 w 25"/>
                <a:gd name="T1" fmla="*/ 93662 h 25"/>
                <a:gd name="T2" fmla="*/ 14986 w 25"/>
                <a:gd name="T3" fmla="*/ 82423 h 25"/>
                <a:gd name="T4" fmla="*/ 14986 w 25"/>
                <a:gd name="T5" fmla="*/ 18732 h 25"/>
                <a:gd name="T6" fmla="*/ 78676 w 25"/>
                <a:gd name="T7" fmla="*/ 18732 h 25"/>
                <a:gd name="T8" fmla="*/ 93662 w 25"/>
                <a:gd name="T9" fmla="*/ 48704 h 25"/>
                <a:gd name="T10" fmla="*/ 78676 w 25"/>
                <a:gd name="T11" fmla="*/ 82423 h 25"/>
                <a:gd name="T12" fmla="*/ 48704 w 25"/>
                <a:gd name="T13" fmla="*/ 93662 h 25"/>
                <a:gd name="T14" fmla="*/ 48704 w 25"/>
                <a:gd name="T15" fmla="*/ 22479 h 25"/>
                <a:gd name="T16" fmla="*/ 29972 w 25"/>
                <a:gd name="T17" fmla="*/ 29972 h 25"/>
                <a:gd name="T18" fmla="*/ 29972 w 25"/>
                <a:gd name="T19" fmla="*/ 67437 h 25"/>
                <a:gd name="T20" fmla="*/ 67437 w 25"/>
                <a:gd name="T21" fmla="*/ 67437 h 25"/>
                <a:gd name="T22" fmla="*/ 74930 w 25"/>
                <a:gd name="T23" fmla="*/ 48704 h 25"/>
                <a:gd name="T24" fmla="*/ 67437 w 25"/>
                <a:gd name="T25" fmla="*/ 29972 h 25"/>
                <a:gd name="T26" fmla="*/ 48704 w 25"/>
                <a:gd name="T27" fmla="*/ 2247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5" h="25">
                  <a:moveTo>
                    <a:pt x="13" y="25"/>
                  </a:moveTo>
                  <a:cubicBezTo>
                    <a:pt x="10" y="25"/>
                    <a:pt x="7" y="24"/>
                    <a:pt x="4" y="22"/>
                  </a:cubicBezTo>
                  <a:cubicBezTo>
                    <a:pt x="0" y="17"/>
                    <a:pt x="0" y="9"/>
                    <a:pt x="4" y="5"/>
                  </a:cubicBezTo>
                  <a:cubicBezTo>
                    <a:pt x="9" y="0"/>
                    <a:pt x="17" y="0"/>
                    <a:pt x="21" y="5"/>
                  </a:cubicBezTo>
                  <a:cubicBezTo>
                    <a:pt x="24" y="7"/>
                    <a:pt x="25" y="10"/>
                    <a:pt x="25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6"/>
                  </a:moveTo>
                  <a:cubicBezTo>
                    <a:pt x="11" y="6"/>
                    <a:pt x="9" y="7"/>
                    <a:pt x="8" y="8"/>
                  </a:cubicBezTo>
                  <a:cubicBezTo>
                    <a:pt x="5" y="11"/>
                    <a:pt x="5" y="15"/>
                    <a:pt x="8" y="18"/>
                  </a:cubicBezTo>
                  <a:cubicBezTo>
                    <a:pt x="10" y="21"/>
                    <a:pt x="15" y="21"/>
                    <a:pt x="18" y="18"/>
                  </a:cubicBezTo>
                  <a:cubicBezTo>
                    <a:pt x="19" y="17"/>
                    <a:pt x="20" y="15"/>
                    <a:pt x="20" y="13"/>
                  </a:cubicBezTo>
                  <a:cubicBezTo>
                    <a:pt x="20" y="11"/>
                    <a:pt x="19" y="9"/>
                    <a:pt x="18" y="8"/>
                  </a:cubicBezTo>
                  <a:cubicBezTo>
                    <a:pt x="17" y="7"/>
                    <a:pt x="15" y="6"/>
                    <a:pt x="1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Freeform 292">
              <a:extLst>
                <a:ext uri="{FF2B5EF4-FFF2-40B4-BE49-F238E27FC236}">
                  <a16:creationId xmlns:a16="http://schemas.microsoft.com/office/drawing/2014/main" id="{FE6625FB-E63B-4BF1-80D7-E581E0FD0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0137" y="3911550"/>
              <a:ext cx="90487" cy="88900"/>
            </a:xfrm>
            <a:custGeom>
              <a:avLst/>
              <a:gdLst>
                <a:gd name="T0" fmla="*/ 64095 w 24"/>
                <a:gd name="T1" fmla="*/ 88900 h 24"/>
                <a:gd name="T2" fmla="*/ 64095 w 24"/>
                <a:gd name="T3" fmla="*/ 88900 h 24"/>
                <a:gd name="T4" fmla="*/ 22622 w 24"/>
                <a:gd name="T5" fmla="*/ 66675 h 24"/>
                <a:gd name="T6" fmla="*/ 0 w 24"/>
                <a:gd name="T7" fmla="*/ 25929 h 24"/>
                <a:gd name="T8" fmla="*/ 7541 w 24"/>
                <a:gd name="T9" fmla="*/ 14817 h 24"/>
                <a:gd name="T10" fmla="*/ 79176 w 24"/>
                <a:gd name="T11" fmla="*/ 0 h 24"/>
                <a:gd name="T12" fmla="*/ 86717 w 24"/>
                <a:gd name="T13" fmla="*/ 3704 h 24"/>
                <a:gd name="T14" fmla="*/ 90487 w 24"/>
                <a:gd name="T15" fmla="*/ 11113 h 24"/>
                <a:gd name="T16" fmla="*/ 75406 w 24"/>
                <a:gd name="T17" fmla="*/ 81492 h 24"/>
                <a:gd name="T18" fmla="*/ 64095 w 24"/>
                <a:gd name="T19" fmla="*/ 88900 h 24"/>
                <a:gd name="T20" fmla="*/ 18851 w 24"/>
                <a:gd name="T21" fmla="*/ 29633 h 24"/>
                <a:gd name="T22" fmla="*/ 33933 w 24"/>
                <a:gd name="T23" fmla="*/ 55563 h 24"/>
                <a:gd name="T24" fmla="*/ 60325 w 24"/>
                <a:gd name="T25" fmla="*/ 70379 h 24"/>
                <a:gd name="T26" fmla="*/ 71636 w 24"/>
                <a:gd name="T27" fmla="*/ 22225 h 24"/>
                <a:gd name="T28" fmla="*/ 18851 w 24"/>
                <a:gd name="T29" fmla="*/ 29633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24">
                  <a:moveTo>
                    <a:pt x="17" y="24"/>
                  </a:moveTo>
                  <a:cubicBezTo>
                    <a:pt x="17" y="24"/>
                    <a:pt x="17" y="24"/>
                    <a:pt x="17" y="24"/>
                  </a:cubicBezTo>
                  <a:cubicBezTo>
                    <a:pt x="13" y="23"/>
                    <a:pt x="9" y="21"/>
                    <a:pt x="6" y="18"/>
                  </a:cubicBezTo>
                  <a:cubicBezTo>
                    <a:pt x="3" y="15"/>
                    <a:pt x="1" y="11"/>
                    <a:pt x="0" y="7"/>
                  </a:cubicBezTo>
                  <a:cubicBezTo>
                    <a:pt x="0" y="6"/>
                    <a:pt x="0" y="5"/>
                    <a:pt x="2" y="4"/>
                  </a:cubicBezTo>
                  <a:cubicBezTo>
                    <a:pt x="13" y="1"/>
                    <a:pt x="21" y="0"/>
                    <a:pt x="21" y="0"/>
                  </a:cubicBezTo>
                  <a:cubicBezTo>
                    <a:pt x="22" y="0"/>
                    <a:pt x="23" y="1"/>
                    <a:pt x="23" y="1"/>
                  </a:cubicBezTo>
                  <a:cubicBezTo>
                    <a:pt x="24" y="2"/>
                    <a:pt x="24" y="2"/>
                    <a:pt x="24" y="3"/>
                  </a:cubicBezTo>
                  <a:cubicBezTo>
                    <a:pt x="24" y="3"/>
                    <a:pt x="23" y="11"/>
                    <a:pt x="20" y="22"/>
                  </a:cubicBezTo>
                  <a:cubicBezTo>
                    <a:pt x="19" y="23"/>
                    <a:pt x="18" y="24"/>
                    <a:pt x="17" y="24"/>
                  </a:cubicBezTo>
                  <a:close/>
                  <a:moveTo>
                    <a:pt x="5" y="8"/>
                  </a:moveTo>
                  <a:cubicBezTo>
                    <a:pt x="6" y="11"/>
                    <a:pt x="7" y="13"/>
                    <a:pt x="9" y="15"/>
                  </a:cubicBezTo>
                  <a:cubicBezTo>
                    <a:pt x="11" y="17"/>
                    <a:pt x="13" y="18"/>
                    <a:pt x="16" y="19"/>
                  </a:cubicBezTo>
                  <a:cubicBezTo>
                    <a:pt x="17" y="13"/>
                    <a:pt x="18" y="8"/>
                    <a:pt x="19" y="6"/>
                  </a:cubicBezTo>
                  <a:cubicBezTo>
                    <a:pt x="16" y="6"/>
                    <a:pt x="11" y="7"/>
                    <a:pt x="5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4" name="Freeform 293">
            <a:extLst>
              <a:ext uri="{FF2B5EF4-FFF2-40B4-BE49-F238E27FC236}">
                <a16:creationId xmlns:a16="http://schemas.microsoft.com/office/drawing/2014/main" id="{D8107C63-F797-4F4B-8C72-F61B2663D9D3}"/>
              </a:ext>
            </a:extLst>
          </p:cNvPr>
          <p:cNvSpPr>
            <a:spLocks/>
          </p:cNvSpPr>
          <p:nvPr/>
        </p:nvSpPr>
        <p:spPr bwMode="auto">
          <a:xfrm>
            <a:off x="8533322" y="3415882"/>
            <a:ext cx="1579562" cy="366713"/>
          </a:xfrm>
          <a:custGeom>
            <a:avLst/>
            <a:gdLst>
              <a:gd name="T0" fmla="*/ 1422400 w 995"/>
              <a:gd name="T1" fmla="*/ 366712 h 231"/>
              <a:gd name="T2" fmla="*/ 0 w 995"/>
              <a:gd name="T3" fmla="*/ 366712 h 231"/>
              <a:gd name="T4" fmla="*/ 158750 w 995"/>
              <a:gd name="T5" fmla="*/ 182562 h 231"/>
              <a:gd name="T6" fmla="*/ 0 w 995"/>
              <a:gd name="T7" fmla="*/ 0 h 231"/>
              <a:gd name="T8" fmla="*/ 1422400 w 995"/>
              <a:gd name="T9" fmla="*/ 0 h 231"/>
              <a:gd name="T10" fmla="*/ 1579562 w 995"/>
              <a:gd name="T11" fmla="*/ 182562 h 231"/>
              <a:gd name="T12" fmla="*/ 1422400 w 995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5" h="231">
                <a:moveTo>
                  <a:pt x="896" y="231"/>
                </a:moveTo>
                <a:lnTo>
                  <a:pt x="0" y="231"/>
                </a:lnTo>
                <a:lnTo>
                  <a:pt x="100" y="115"/>
                </a:lnTo>
                <a:lnTo>
                  <a:pt x="0" y="0"/>
                </a:lnTo>
                <a:lnTo>
                  <a:pt x="896" y="0"/>
                </a:lnTo>
                <a:lnTo>
                  <a:pt x="995" y="115"/>
                </a:lnTo>
                <a:lnTo>
                  <a:pt x="896" y="231"/>
                </a:lnTo>
                <a:close/>
              </a:path>
            </a:pathLst>
          </a:custGeom>
          <a:solidFill>
            <a:srgbClr val="FCB9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5" name="Freeform 294">
            <a:extLst>
              <a:ext uri="{FF2B5EF4-FFF2-40B4-BE49-F238E27FC236}">
                <a16:creationId xmlns:a16="http://schemas.microsoft.com/office/drawing/2014/main" id="{A8493744-2411-44A2-ACEF-A8CEC01ECC2F}"/>
              </a:ext>
            </a:extLst>
          </p:cNvPr>
          <p:cNvSpPr>
            <a:spLocks/>
          </p:cNvSpPr>
          <p:nvPr/>
        </p:nvSpPr>
        <p:spPr bwMode="auto">
          <a:xfrm>
            <a:off x="6991859" y="3415882"/>
            <a:ext cx="1579563" cy="366713"/>
          </a:xfrm>
          <a:custGeom>
            <a:avLst/>
            <a:gdLst>
              <a:gd name="T0" fmla="*/ 1422400 w 995"/>
              <a:gd name="T1" fmla="*/ 366712 h 231"/>
              <a:gd name="T2" fmla="*/ 0 w 995"/>
              <a:gd name="T3" fmla="*/ 366712 h 231"/>
              <a:gd name="T4" fmla="*/ 158750 w 995"/>
              <a:gd name="T5" fmla="*/ 182562 h 231"/>
              <a:gd name="T6" fmla="*/ 0 w 995"/>
              <a:gd name="T7" fmla="*/ 0 h 231"/>
              <a:gd name="T8" fmla="*/ 1422400 w 995"/>
              <a:gd name="T9" fmla="*/ 0 h 231"/>
              <a:gd name="T10" fmla="*/ 1579562 w 995"/>
              <a:gd name="T11" fmla="*/ 182562 h 231"/>
              <a:gd name="T12" fmla="*/ 1422400 w 995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5" h="231">
                <a:moveTo>
                  <a:pt x="896" y="231"/>
                </a:moveTo>
                <a:lnTo>
                  <a:pt x="0" y="231"/>
                </a:lnTo>
                <a:lnTo>
                  <a:pt x="100" y="115"/>
                </a:lnTo>
                <a:lnTo>
                  <a:pt x="0" y="0"/>
                </a:lnTo>
                <a:lnTo>
                  <a:pt x="896" y="0"/>
                </a:lnTo>
                <a:lnTo>
                  <a:pt x="995" y="115"/>
                </a:lnTo>
                <a:lnTo>
                  <a:pt x="896" y="231"/>
                </a:lnTo>
                <a:close/>
              </a:path>
            </a:pathLst>
          </a:custGeom>
          <a:solidFill>
            <a:srgbClr val="40A0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6" name="Freeform 295">
            <a:extLst>
              <a:ext uri="{FF2B5EF4-FFF2-40B4-BE49-F238E27FC236}">
                <a16:creationId xmlns:a16="http://schemas.microsoft.com/office/drawing/2014/main" id="{D4A0BB4E-E1B7-4388-88EC-831BDF14362B}"/>
              </a:ext>
            </a:extLst>
          </p:cNvPr>
          <p:cNvSpPr>
            <a:spLocks/>
          </p:cNvSpPr>
          <p:nvPr/>
        </p:nvSpPr>
        <p:spPr bwMode="auto">
          <a:xfrm>
            <a:off x="5451984" y="3415882"/>
            <a:ext cx="1577975" cy="366713"/>
          </a:xfrm>
          <a:custGeom>
            <a:avLst/>
            <a:gdLst>
              <a:gd name="T0" fmla="*/ 1417638 w 994"/>
              <a:gd name="T1" fmla="*/ 366712 h 231"/>
              <a:gd name="T2" fmla="*/ 0 w 994"/>
              <a:gd name="T3" fmla="*/ 366712 h 231"/>
              <a:gd name="T4" fmla="*/ 157163 w 994"/>
              <a:gd name="T5" fmla="*/ 182562 h 231"/>
              <a:gd name="T6" fmla="*/ 0 w 994"/>
              <a:gd name="T7" fmla="*/ 0 h 231"/>
              <a:gd name="T8" fmla="*/ 1417638 w 994"/>
              <a:gd name="T9" fmla="*/ 0 h 231"/>
              <a:gd name="T10" fmla="*/ 1577975 w 994"/>
              <a:gd name="T11" fmla="*/ 182562 h 231"/>
              <a:gd name="T12" fmla="*/ 1417638 w 994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4" h="231">
                <a:moveTo>
                  <a:pt x="893" y="231"/>
                </a:moveTo>
                <a:lnTo>
                  <a:pt x="0" y="231"/>
                </a:lnTo>
                <a:lnTo>
                  <a:pt x="99" y="115"/>
                </a:lnTo>
                <a:lnTo>
                  <a:pt x="0" y="0"/>
                </a:lnTo>
                <a:lnTo>
                  <a:pt x="893" y="0"/>
                </a:lnTo>
                <a:lnTo>
                  <a:pt x="994" y="115"/>
                </a:lnTo>
                <a:lnTo>
                  <a:pt x="893" y="231"/>
                </a:lnTo>
                <a:close/>
              </a:path>
            </a:pathLst>
          </a:custGeom>
          <a:solidFill>
            <a:srgbClr val="E94D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7" name="Freeform 296">
            <a:extLst>
              <a:ext uri="{FF2B5EF4-FFF2-40B4-BE49-F238E27FC236}">
                <a16:creationId xmlns:a16="http://schemas.microsoft.com/office/drawing/2014/main" id="{6F44DD72-570F-4956-B5D7-D98ECCCF03DE}"/>
              </a:ext>
            </a:extLst>
          </p:cNvPr>
          <p:cNvSpPr>
            <a:spLocks/>
          </p:cNvSpPr>
          <p:nvPr/>
        </p:nvSpPr>
        <p:spPr bwMode="auto">
          <a:xfrm>
            <a:off x="3905759" y="3415882"/>
            <a:ext cx="1579563" cy="366713"/>
          </a:xfrm>
          <a:custGeom>
            <a:avLst/>
            <a:gdLst>
              <a:gd name="T0" fmla="*/ 1422400 w 995"/>
              <a:gd name="T1" fmla="*/ 366712 h 231"/>
              <a:gd name="T2" fmla="*/ 0 w 995"/>
              <a:gd name="T3" fmla="*/ 366712 h 231"/>
              <a:gd name="T4" fmla="*/ 157162 w 995"/>
              <a:gd name="T5" fmla="*/ 182562 h 231"/>
              <a:gd name="T6" fmla="*/ 0 w 995"/>
              <a:gd name="T7" fmla="*/ 0 h 231"/>
              <a:gd name="T8" fmla="*/ 1422400 w 995"/>
              <a:gd name="T9" fmla="*/ 0 h 231"/>
              <a:gd name="T10" fmla="*/ 1579562 w 995"/>
              <a:gd name="T11" fmla="*/ 182562 h 231"/>
              <a:gd name="T12" fmla="*/ 1422400 w 995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5" h="231">
                <a:moveTo>
                  <a:pt x="896" y="231"/>
                </a:moveTo>
                <a:lnTo>
                  <a:pt x="0" y="231"/>
                </a:lnTo>
                <a:lnTo>
                  <a:pt x="99" y="115"/>
                </a:lnTo>
                <a:lnTo>
                  <a:pt x="0" y="0"/>
                </a:lnTo>
                <a:lnTo>
                  <a:pt x="896" y="0"/>
                </a:lnTo>
                <a:lnTo>
                  <a:pt x="995" y="115"/>
                </a:lnTo>
                <a:lnTo>
                  <a:pt x="896" y="231"/>
                </a:lnTo>
                <a:close/>
              </a:path>
            </a:pathLst>
          </a:custGeom>
          <a:solidFill>
            <a:srgbClr val="7D7D7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8" name="Freeform 297">
            <a:extLst>
              <a:ext uri="{FF2B5EF4-FFF2-40B4-BE49-F238E27FC236}">
                <a16:creationId xmlns:a16="http://schemas.microsoft.com/office/drawing/2014/main" id="{8A737C88-1835-4019-9DAE-8450080F4F97}"/>
              </a:ext>
            </a:extLst>
          </p:cNvPr>
          <p:cNvSpPr>
            <a:spLocks/>
          </p:cNvSpPr>
          <p:nvPr/>
        </p:nvSpPr>
        <p:spPr bwMode="auto">
          <a:xfrm>
            <a:off x="2364297" y="3415882"/>
            <a:ext cx="1579562" cy="366713"/>
          </a:xfrm>
          <a:custGeom>
            <a:avLst/>
            <a:gdLst>
              <a:gd name="T0" fmla="*/ 1422400 w 995"/>
              <a:gd name="T1" fmla="*/ 366712 h 231"/>
              <a:gd name="T2" fmla="*/ 0 w 995"/>
              <a:gd name="T3" fmla="*/ 366712 h 231"/>
              <a:gd name="T4" fmla="*/ 157162 w 995"/>
              <a:gd name="T5" fmla="*/ 182562 h 231"/>
              <a:gd name="T6" fmla="*/ 0 w 995"/>
              <a:gd name="T7" fmla="*/ 0 h 231"/>
              <a:gd name="T8" fmla="*/ 1422400 w 995"/>
              <a:gd name="T9" fmla="*/ 0 h 231"/>
              <a:gd name="T10" fmla="*/ 1579562 w 995"/>
              <a:gd name="T11" fmla="*/ 182562 h 231"/>
              <a:gd name="T12" fmla="*/ 1422400 w 995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5" h="231">
                <a:moveTo>
                  <a:pt x="896" y="231"/>
                </a:moveTo>
                <a:lnTo>
                  <a:pt x="0" y="231"/>
                </a:lnTo>
                <a:lnTo>
                  <a:pt x="99" y="115"/>
                </a:lnTo>
                <a:lnTo>
                  <a:pt x="0" y="0"/>
                </a:lnTo>
                <a:lnTo>
                  <a:pt x="896" y="0"/>
                </a:lnTo>
                <a:lnTo>
                  <a:pt x="995" y="115"/>
                </a:lnTo>
                <a:lnTo>
                  <a:pt x="896" y="231"/>
                </a:lnTo>
                <a:close/>
              </a:path>
            </a:pathLst>
          </a:custGeom>
          <a:solidFill>
            <a:srgbClr val="734B8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9" name="TextBox 347">
            <a:extLst>
              <a:ext uri="{FF2B5EF4-FFF2-40B4-BE49-F238E27FC236}">
                <a16:creationId xmlns:a16="http://schemas.microsoft.com/office/drawing/2014/main" id="{DAE5607C-BCD3-439A-9AC2-D8C8EED56455}"/>
              </a:ext>
            </a:extLst>
          </p:cNvPr>
          <p:cNvSpPr txBox="1"/>
          <p:nvPr/>
        </p:nvSpPr>
        <p:spPr>
          <a:xfrm>
            <a:off x="2364297" y="3923882"/>
            <a:ext cx="1460500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ong fact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tha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reader will be its. Will be its got me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ayoutn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.  </a:t>
            </a:r>
          </a:p>
        </p:txBody>
      </p:sp>
      <p:sp>
        <p:nvSpPr>
          <p:cNvPr id="40" name="TextBox 348">
            <a:extLst>
              <a:ext uri="{FF2B5EF4-FFF2-40B4-BE49-F238E27FC236}">
                <a16:creationId xmlns:a16="http://schemas.microsoft.com/office/drawing/2014/main" id="{F0DE79D9-E993-464C-8A28-7E2989067BF4}"/>
              </a:ext>
            </a:extLst>
          </p:cNvPr>
          <p:cNvSpPr txBox="1"/>
          <p:nvPr/>
        </p:nvSpPr>
        <p:spPr>
          <a:xfrm>
            <a:off x="5451984" y="3923882"/>
            <a:ext cx="1539875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Estabilished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distrted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its layout. Will be its got me now and to home </a:t>
            </a:r>
          </a:p>
        </p:txBody>
      </p:sp>
      <p:sp>
        <p:nvSpPr>
          <p:cNvPr id="41" name="TextBox 349">
            <a:extLst>
              <a:ext uri="{FF2B5EF4-FFF2-40B4-BE49-F238E27FC236}">
                <a16:creationId xmlns:a16="http://schemas.microsoft.com/office/drawing/2014/main" id="{AF2230A2-5C29-418C-84BF-50EE6E6C703B}"/>
              </a:ext>
            </a:extLst>
          </p:cNvPr>
          <p:cNvSpPr txBox="1"/>
          <p:nvPr/>
        </p:nvSpPr>
        <p:spPr>
          <a:xfrm>
            <a:off x="7006147" y="2322095"/>
            <a:ext cx="1527175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Fact that a reader will be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itlayout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. Long fact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tha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reader will be its. </a:t>
            </a:r>
          </a:p>
        </p:txBody>
      </p:sp>
      <p:sp>
        <p:nvSpPr>
          <p:cNvPr id="42" name="TextBox 350">
            <a:extLst>
              <a:ext uri="{FF2B5EF4-FFF2-40B4-BE49-F238E27FC236}">
                <a16:creationId xmlns:a16="http://schemas.microsoft.com/office/drawing/2014/main" id="{F9F321C8-D62B-419A-B188-8286CF2E1FCE}"/>
              </a:ext>
            </a:extLst>
          </p:cNvPr>
          <p:cNvSpPr txBox="1"/>
          <p:nvPr/>
        </p:nvSpPr>
        <p:spPr>
          <a:xfrm>
            <a:off x="4040697" y="2322095"/>
            <a:ext cx="1184275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Will be its got me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ayoutn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.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Estabilished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its layout.  </a:t>
            </a:r>
          </a:p>
        </p:txBody>
      </p:sp>
      <p:sp>
        <p:nvSpPr>
          <p:cNvPr id="43" name="TextBox 351">
            <a:extLst>
              <a:ext uri="{FF2B5EF4-FFF2-40B4-BE49-F238E27FC236}">
                <a16:creationId xmlns:a16="http://schemas.microsoft.com/office/drawing/2014/main" id="{B358A2B9-F829-4945-812B-6ED6B4ADE194}"/>
              </a:ext>
            </a:extLst>
          </p:cNvPr>
          <p:cNvSpPr txBox="1"/>
          <p:nvPr/>
        </p:nvSpPr>
        <p:spPr>
          <a:xfrm>
            <a:off x="8547609" y="3923882"/>
            <a:ext cx="1565275" cy="738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ong fact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tha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reader will be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itstabilished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distrted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its layout. </a:t>
            </a:r>
          </a:p>
        </p:txBody>
      </p:sp>
      <p:sp>
        <p:nvSpPr>
          <p:cNvPr id="44" name="Rectangle 352">
            <a:extLst>
              <a:ext uri="{FF2B5EF4-FFF2-40B4-BE49-F238E27FC236}">
                <a16:creationId xmlns:a16="http://schemas.microsoft.com/office/drawing/2014/main" id="{97C891AC-5A5B-4F78-9BE3-18C826E32133}"/>
              </a:ext>
            </a:extLst>
          </p:cNvPr>
          <p:cNvSpPr/>
          <p:nvPr/>
        </p:nvSpPr>
        <p:spPr>
          <a:xfrm>
            <a:off x="2715134" y="3466682"/>
            <a:ext cx="960438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Planets</a:t>
            </a:r>
            <a:endParaRPr lang="bg-BG" sz="2000" dirty="0">
              <a:solidFill>
                <a:schemeClr val="bg1"/>
              </a:solidFill>
            </a:endParaRPr>
          </a:p>
        </p:txBody>
      </p:sp>
      <p:sp>
        <p:nvSpPr>
          <p:cNvPr id="45" name="Rectangle 353">
            <a:extLst>
              <a:ext uri="{FF2B5EF4-FFF2-40B4-BE49-F238E27FC236}">
                <a16:creationId xmlns:a16="http://schemas.microsoft.com/office/drawing/2014/main" id="{E1C86F83-ED14-4B71-A37C-0FD4F5FFC3FB}"/>
              </a:ext>
            </a:extLst>
          </p:cNvPr>
          <p:cNvSpPr/>
          <p:nvPr/>
        </p:nvSpPr>
        <p:spPr>
          <a:xfrm>
            <a:off x="4183572" y="3466682"/>
            <a:ext cx="962025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Busses</a:t>
            </a:r>
            <a:endParaRPr lang="bg-BG" sz="2000" dirty="0">
              <a:solidFill>
                <a:schemeClr val="bg1"/>
              </a:solidFill>
            </a:endParaRPr>
          </a:p>
        </p:txBody>
      </p:sp>
      <p:sp>
        <p:nvSpPr>
          <p:cNvPr id="46" name="Rectangle 354">
            <a:extLst>
              <a:ext uri="{FF2B5EF4-FFF2-40B4-BE49-F238E27FC236}">
                <a16:creationId xmlns:a16="http://schemas.microsoft.com/office/drawing/2014/main" id="{28010471-CB24-4795-8B3F-5416BDB3FE59}"/>
              </a:ext>
            </a:extLst>
          </p:cNvPr>
          <p:cNvSpPr/>
          <p:nvPr/>
        </p:nvSpPr>
        <p:spPr>
          <a:xfrm>
            <a:off x="5815522" y="3466682"/>
            <a:ext cx="960437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Money</a:t>
            </a:r>
            <a:endParaRPr lang="bg-BG" sz="2000" dirty="0">
              <a:solidFill>
                <a:schemeClr val="bg1"/>
              </a:solidFill>
            </a:endParaRPr>
          </a:p>
        </p:txBody>
      </p:sp>
      <p:sp>
        <p:nvSpPr>
          <p:cNvPr id="47" name="Rectangle 355">
            <a:extLst>
              <a:ext uri="{FF2B5EF4-FFF2-40B4-BE49-F238E27FC236}">
                <a16:creationId xmlns:a16="http://schemas.microsoft.com/office/drawing/2014/main" id="{2C796F33-113E-4951-9C85-1CCFB0E54DFA}"/>
              </a:ext>
            </a:extLst>
          </p:cNvPr>
          <p:cNvSpPr/>
          <p:nvPr/>
        </p:nvSpPr>
        <p:spPr>
          <a:xfrm>
            <a:off x="7328409" y="3466682"/>
            <a:ext cx="960438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Life</a:t>
            </a:r>
            <a:endParaRPr lang="bg-BG" sz="2000" dirty="0">
              <a:solidFill>
                <a:schemeClr val="bg1"/>
              </a:solidFill>
            </a:endParaRPr>
          </a:p>
        </p:txBody>
      </p:sp>
      <p:sp>
        <p:nvSpPr>
          <p:cNvPr id="48" name="Rectangle 356">
            <a:extLst>
              <a:ext uri="{FF2B5EF4-FFF2-40B4-BE49-F238E27FC236}">
                <a16:creationId xmlns:a16="http://schemas.microsoft.com/office/drawing/2014/main" id="{1B5D12FA-8576-43BD-A46E-6DE839C36020}"/>
              </a:ext>
            </a:extLst>
          </p:cNvPr>
          <p:cNvSpPr/>
          <p:nvPr/>
        </p:nvSpPr>
        <p:spPr>
          <a:xfrm>
            <a:off x="8865109" y="3466682"/>
            <a:ext cx="960438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Media</a:t>
            </a:r>
            <a:endParaRPr lang="bg-BG" sz="2000" dirty="0">
              <a:solidFill>
                <a:schemeClr val="bg1"/>
              </a:solidFill>
            </a:endParaRPr>
          </a:p>
        </p:txBody>
      </p:sp>
      <p:grpSp>
        <p:nvGrpSpPr>
          <p:cNvPr id="49" name="Group 44">
            <a:extLst>
              <a:ext uri="{FF2B5EF4-FFF2-40B4-BE49-F238E27FC236}">
                <a16:creationId xmlns:a16="http://schemas.microsoft.com/office/drawing/2014/main" id="{79C7C700-436E-4405-8141-BB38D68CA1C4}"/>
              </a:ext>
            </a:extLst>
          </p:cNvPr>
          <p:cNvGrpSpPr>
            <a:grpSpLocks/>
          </p:cNvGrpSpPr>
          <p:nvPr/>
        </p:nvGrpSpPr>
        <p:grpSpPr bwMode="auto">
          <a:xfrm>
            <a:off x="1994409" y="1013995"/>
            <a:ext cx="8466138" cy="936625"/>
            <a:chOff x="270223" y="411510"/>
            <a:chExt cx="8466002" cy="935531"/>
          </a:xfrm>
        </p:grpSpPr>
        <p:grpSp>
          <p:nvGrpSpPr>
            <p:cNvPr id="50" name="Group 45">
              <a:extLst>
                <a:ext uri="{FF2B5EF4-FFF2-40B4-BE49-F238E27FC236}">
                  <a16:creationId xmlns:a16="http://schemas.microsoft.com/office/drawing/2014/main" id="{9B50E2EB-78EE-4C0F-A88B-E189667E4FB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223" y="411510"/>
              <a:ext cx="6817865" cy="935531"/>
              <a:chOff x="414239" y="473993"/>
              <a:chExt cx="6817865" cy="935531"/>
            </a:xfrm>
          </p:grpSpPr>
          <p:sp>
            <p:nvSpPr>
              <p:cNvPr id="52" name="TextBox 47">
                <a:extLst>
                  <a:ext uri="{FF2B5EF4-FFF2-40B4-BE49-F238E27FC236}">
                    <a16:creationId xmlns:a16="http://schemas.microsoft.com/office/drawing/2014/main" id="{77741379-E050-4B9A-A2C9-15C0C7A5D850}"/>
                  </a:ext>
                </a:extLst>
              </p:cNvPr>
              <p:cNvSpPr txBox="1"/>
              <p:nvPr/>
            </p:nvSpPr>
            <p:spPr>
              <a:xfrm>
                <a:off x="414239" y="473993"/>
                <a:ext cx="6818203" cy="64694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360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" pitchFamily="2" charset="0"/>
                    <a:ea typeface="Roboto Condensed" pitchFamily="2" charset="0"/>
                    <a:cs typeface="+mn-cs"/>
                  </a:rPr>
                  <a:t>Lorem</a:t>
                </a:r>
                <a:r>
                  <a:rPr lang="en-US" sz="36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" pitchFamily="2" charset="0"/>
                    <a:ea typeface="Roboto Condensed" pitchFamily="2" charset="0"/>
                    <a:cs typeface="+mn-cs"/>
                  </a:rPr>
                  <a:t> </a:t>
                </a:r>
                <a:r>
                  <a:rPr lang="en-US" sz="360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 Light" pitchFamily="2" charset="0"/>
                    <a:ea typeface="Roboto Condensed Light" pitchFamily="2" charset="0"/>
                    <a:cs typeface="+mn-cs"/>
                  </a:rPr>
                  <a:t>Ipsum</a:t>
                </a:r>
                <a:r>
                  <a:rPr lang="en-US" sz="36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 Light" pitchFamily="2" charset="0"/>
                    <a:ea typeface="Roboto Condensed Light" pitchFamily="2" charset="0"/>
                    <a:cs typeface="+mn-cs"/>
                  </a:rPr>
                  <a:t> of the printing</a:t>
                </a:r>
                <a:r>
                  <a:rPr lang="en-US" sz="36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" pitchFamily="2" charset="0"/>
                    <a:ea typeface="Roboto Condensed" pitchFamily="2" charset="0"/>
                    <a:cs typeface="+mn-cs"/>
                  </a:rPr>
                  <a:t> </a:t>
                </a:r>
                <a:endParaRPr lang="en-US" sz="3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Roboto Condensed Light" pitchFamily="2" charset="0"/>
                  <a:ea typeface="Roboto Condensed Light" pitchFamily="2" charset="0"/>
                  <a:cs typeface="+mn-cs"/>
                </a:endParaRPr>
              </a:p>
            </p:txBody>
          </p:sp>
          <p:sp>
            <p:nvSpPr>
              <p:cNvPr id="53" name="TextBox 48">
                <a:extLst>
                  <a:ext uri="{FF2B5EF4-FFF2-40B4-BE49-F238E27FC236}">
                    <a16:creationId xmlns:a16="http://schemas.microsoft.com/office/drawing/2014/main" id="{0C7D0B0D-D6DA-45F3-9321-F6F20220DABB}"/>
                  </a:ext>
                </a:extLst>
              </p:cNvPr>
              <p:cNvSpPr txBox="1"/>
              <p:nvPr/>
            </p:nvSpPr>
            <p:spPr>
              <a:xfrm>
                <a:off x="420589" y="1101909"/>
                <a:ext cx="4943395" cy="307615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 Light" pitchFamily="2" charset="0"/>
                    <a:ea typeface="Roboto Condensed Light" pitchFamily="2" charset="0"/>
                    <a:cs typeface="+mn-cs"/>
                  </a:rPr>
                  <a:t>Estabilished</a:t>
                </a: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Roboto Condensed Light" pitchFamily="2" charset="0"/>
                    <a:ea typeface="Roboto Condensed Light" pitchFamily="2" charset="0"/>
                    <a:cs typeface="+mn-cs"/>
                  </a:rPr>
                  <a:t> fact that a reader will be distracted its layout. </a:t>
                </a:r>
              </a:p>
            </p:txBody>
          </p:sp>
        </p:grpSp>
        <p:sp>
          <p:nvSpPr>
            <p:cNvPr id="51" name="Line 8">
              <a:extLst>
                <a:ext uri="{FF2B5EF4-FFF2-40B4-BE49-F238E27FC236}">
                  <a16:creationId xmlns:a16="http://schemas.microsoft.com/office/drawing/2014/main" id="{1BC63856-9EB0-4B0F-B224-9445883993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34" y="1039426"/>
              <a:ext cx="8365991" cy="0"/>
            </a:xfrm>
            <a:prstGeom prst="line">
              <a:avLst/>
            </a:prstGeom>
            <a:noFill/>
            <a:ln w="3175" cap="flat" cmpd="sng">
              <a:solidFill>
                <a:schemeClr val="bg2">
                  <a:lumMod val="75000"/>
                </a:schemeClr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5600">
                <a:effectLst>
                  <a:outerShdw blurRad="38100" dist="38100" dir="2700000" algn="tl">
                    <a:srgbClr val="DDDDDD"/>
                  </a:outerShdw>
                </a:effectLst>
                <a:latin typeface="Gill Sans" charset="0"/>
                <a:ea typeface="ＭＳ Ｐゴシック" charset="0"/>
                <a:cs typeface="+mn-cs"/>
                <a:sym typeface="Gill Sans" charset="0"/>
              </a:endParaRPr>
            </a:p>
          </p:txBody>
        </p:sp>
      </p:grpSp>
      <p:sp>
        <p:nvSpPr>
          <p:cNvPr id="63" name="Freeform 297">
            <a:extLst>
              <a:ext uri="{FF2B5EF4-FFF2-40B4-BE49-F238E27FC236}">
                <a16:creationId xmlns:a16="http://schemas.microsoft.com/office/drawing/2014/main" id="{D4265B96-4E4D-4AF0-B6EB-2C4F3A51A7E1}"/>
              </a:ext>
            </a:extLst>
          </p:cNvPr>
          <p:cNvSpPr>
            <a:spLocks/>
          </p:cNvSpPr>
          <p:nvPr/>
        </p:nvSpPr>
        <p:spPr bwMode="auto">
          <a:xfrm>
            <a:off x="769606" y="3433838"/>
            <a:ext cx="1579562" cy="366713"/>
          </a:xfrm>
          <a:custGeom>
            <a:avLst/>
            <a:gdLst>
              <a:gd name="T0" fmla="*/ 1422400 w 995"/>
              <a:gd name="T1" fmla="*/ 366712 h 231"/>
              <a:gd name="T2" fmla="*/ 0 w 995"/>
              <a:gd name="T3" fmla="*/ 366712 h 231"/>
              <a:gd name="T4" fmla="*/ 157162 w 995"/>
              <a:gd name="T5" fmla="*/ 182562 h 231"/>
              <a:gd name="T6" fmla="*/ 0 w 995"/>
              <a:gd name="T7" fmla="*/ 0 h 231"/>
              <a:gd name="T8" fmla="*/ 1422400 w 995"/>
              <a:gd name="T9" fmla="*/ 0 h 231"/>
              <a:gd name="T10" fmla="*/ 1579562 w 995"/>
              <a:gd name="T11" fmla="*/ 182562 h 231"/>
              <a:gd name="T12" fmla="*/ 1422400 w 995"/>
              <a:gd name="T13" fmla="*/ 366712 h 2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95" h="231">
                <a:moveTo>
                  <a:pt x="896" y="231"/>
                </a:moveTo>
                <a:lnTo>
                  <a:pt x="0" y="231"/>
                </a:lnTo>
                <a:lnTo>
                  <a:pt x="99" y="115"/>
                </a:lnTo>
                <a:lnTo>
                  <a:pt x="0" y="0"/>
                </a:lnTo>
                <a:lnTo>
                  <a:pt x="896" y="0"/>
                </a:lnTo>
                <a:lnTo>
                  <a:pt x="995" y="115"/>
                </a:lnTo>
                <a:lnTo>
                  <a:pt x="896" y="231"/>
                </a:lnTo>
                <a:close/>
              </a:path>
            </a:pathLst>
          </a:custGeom>
          <a:solidFill>
            <a:srgbClr val="734B8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4" name="TextBox 347">
            <a:extLst>
              <a:ext uri="{FF2B5EF4-FFF2-40B4-BE49-F238E27FC236}">
                <a16:creationId xmlns:a16="http://schemas.microsoft.com/office/drawing/2014/main" id="{876233F3-D27C-4624-B6D9-F400DF7918DD}"/>
              </a:ext>
            </a:extLst>
          </p:cNvPr>
          <p:cNvSpPr txBox="1"/>
          <p:nvPr/>
        </p:nvSpPr>
        <p:spPr>
          <a:xfrm>
            <a:off x="769606" y="3941838"/>
            <a:ext cx="1460500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ong fact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tha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 reader will be its. Will be its got me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layoutn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 Light" pitchFamily="2" charset="0"/>
                <a:ea typeface="Roboto Condensed Light" pitchFamily="2" charset="0"/>
                <a:cs typeface="+mn-cs"/>
              </a:rPr>
              <a:t>.  </a:t>
            </a:r>
          </a:p>
        </p:txBody>
      </p:sp>
      <p:sp>
        <p:nvSpPr>
          <p:cNvPr id="65" name="Rectangle 352">
            <a:extLst>
              <a:ext uri="{FF2B5EF4-FFF2-40B4-BE49-F238E27FC236}">
                <a16:creationId xmlns:a16="http://schemas.microsoft.com/office/drawing/2014/main" id="{E95D0D36-2024-401C-AE0E-AE36698F9B82}"/>
              </a:ext>
            </a:extLst>
          </p:cNvPr>
          <p:cNvSpPr/>
          <p:nvPr/>
        </p:nvSpPr>
        <p:spPr>
          <a:xfrm>
            <a:off x="1120443" y="3484638"/>
            <a:ext cx="960438" cy="3429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Bebas Neue" pitchFamily="34" charset="0"/>
              </a:rPr>
              <a:t>Planets</a:t>
            </a:r>
            <a:endParaRPr lang="bg-BG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31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>
            <a:extLst>
              <a:ext uri="{FF2B5EF4-FFF2-40B4-BE49-F238E27FC236}">
                <a16:creationId xmlns:a16="http://schemas.microsoft.com/office/drawing/2014/main" id="{97420957-FAFD-4DD7-9256-576AA7B63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3593" y="0"/>
            <a:ext cx="6096204" cy="6858000"/>
          </a:xfrm>
          <a:prstGeom prst="rect">
            <a:avLst/>
          </a:prstGeom>
          <a:solidFill>
            <a:srgbClr val="D7D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156D7F5A-36FD-4403-A18D-01D861187957}"/>
              </a:ext>
            </a:extLst>
          </p:cNvPr>
          <p:cNvSpPr>
            <a:spLocks/>
          </p:cNvSpPr>
          <p:nvPr/>
        </p:nvSpPr>
        <p:spPr bwMode="auto">
          <a:xfrm>
            <a:off x="5514907" y="269875"/>
            <a:ext cx="1933575" cy="1684338"/>
          </a:xfrm>
          <a:custGeom>
            <a:avLst/>
            <a:gdLst>
              <a:gd name="T0" fmla="*/ 469 w 560"/>
              <a:gd name="T1" fmla="*/ 488 h 488"/>
              <a:gd name="T2" fmla="*/ 560 w 560"/>
              <a:gd name="T3" fmla="*/ 280 h 488"/>
              <a:gd name="T4" fmla="*/ 280 w 560"/>
              <a:gd name="T5" fmla="*/ 0 h 488"/>
              <a:gd name="T6" fmla="*/ 0 w 560"/>
              <a:gd name="T7" fmla="*/ 280 h 488"/>
              <a:gd name="T8" fmla="*/ 92 w 560"/>
              <a:gd name="T9" fmla="*/ 488 h 488"/>
              <a:gd name="T10" fmla="*/ 280 w 560"/>
              <a:gd name="T11" fmla="*/ 415 h 488"/>
              <a:gd name="T12" fmla="*/ 469 w 560"/>
              <a:gd name="T13" fmla="*/ 488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0" h="488">
                <a:moveTo>
                  <a:pt x="469" y="488"/>
                </a:moveTo>
                <a:cubicBezTo>
                  <a:pt x="525" y="436"/>
                  <a:pt x="560" y="363"/>
                  <a:pt x="560" y="280"/>
                </a:cubicBezTo>
                <a:cubicBezTo>
                  <a:pt x="560" y="126"/>
                  <a:pt x="435" y="0"/>
                  <a:pt x="280" y="0"/>
                </a:cubicBezTo>
                <a:cubicBezTo>
                  <a:pt x="126" y="0"/>
                  <a:pt x="0" y="126"/>
                  <a:pt x="0" y="280"/>
                </a:cubicBezTo>
                <a:cubicBezTo>
                  <a:pt x="0" y="363"/>
                  <a:pt x="36" y="436"/>
                  <a:pt x="92" y="488"/>
                </a:cubicBezTo>
                <a:cubicBezTo>
                  <a:pt x="142" y="443"/>
                  <a:pt x="208" y="415"/>
                  <a:pt x="280" y="415"/>
                </a:cubicBezTo>
                <a:cubicBezTo>
                  <a:pt x="353" y="415"/>
                  <a:pt x="419" y="443"/>
                  <a:pt x="469" y="48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B27AA46E-6452-418E-A825-8A6E2F1DE4B6}"/>
              </a:ext>
            </a:extLst>
          </p:cNvPr>
          <p:cNvSpPr>
            <a:spLocks/>
          </p:cNvSpPr>
          <p:nvPr/>
        </p:nvSpPr>
        <p:spPr bwMode="auto">
          <a:xfrm>
            <a:off x="5514907" y="1954213"/>
            <a:ext cx="1933575" cy="1430338"/>
          </a:xfrm>
          <a:custGeom>
            <a:avLst/>
            <a:gdLst>
              <a:gd name="T0" fmla="*/ 560 w 560"/>
              <a:gd name="T1" fmla="*/ 207 h 414"/>
              <a:gd name="T2" fmla="*/ 469 w 560"/>
              <a:gd name="T3" fmla="*/ 0 h 414"/>
              <a:gd name="T4" fmla="*/ 280 w 560"/>
              <a:gd name="T5" fmla="*/ 72 h 414"/>
              <a:gd name="T6" fmla="*/ 92 w 560"/>
              <a:gd name="T7" fmla="*/ 0 h 414"/>
              <a:gd name="T8" fmla="*/ 0 w 560"/>
              <a:gd name="T9" fmla="*/ 207 h 414"/>
              <a:gd name="T10" fmla="*/ 92 w 560"/>
              <a:gd name="T11" fmla="*/ 414 h 414"/>
              <a:gd name="T12" fmla="*/ 280 w 560"/>
              <a:gd name="T13" fmla="*/ 341 h 414"/>
              <a:gd name="T14" fmla="*/ 469 w 560"/>
              <a:gd name="T15" fmla="*/ 414 h 414"/>
              <a:gd name="T16" fmla="*/ 560 w 560"/>
              <a:gd name="T17" fmla="*/ 207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0" h="414">
                <a:moveTo>
                  <a:pt x="560" y="207"/>
                </a:moveTo>
                <a:cubicBezTo>
                  <a:pt x="560" y="125"/>
                  <a:pt x="525" y="51"/>
                  <a:pt x="469" y="0"/>
                </a:cubicBezTo>
                <a:cubicBezTo>
                  <a:pt x="419" y="45"/>
                  <a:pt x="353" y="72"/>
                  <a:pt x="280" y="72"/>
                </a:cubicBezTo>
                <a:cubicBezTo>
                  <a:pt x="208" y="72"/>
                  <a:pt x="142" y="45"/>
                  <a:pt x="92" y="0"/>
                </a:cubicBezTo>
                <a:cubicBezTo>
                  <a:pt x="36" y="51"/>
                  <a:pt x="0" y="125"/>
                  <a:pt x="0" y="207"/>
                </a:cubicBezTo>
                <a:cubicBezTo>
                  <a:pt x="0" y="289"/>
                  <a:pt x="36" y="363"/>
                  <a:pt x="92" y="414"/>
                </a:cubicBezTo>
                <a:cubicBezTo>
                  <a:pt x="142" y="369"/>
                  <a:pt x="208" y="341"/>
                  <a:pt x="280" y="341"/>
                </a:cubicBezTo>
                <a:cubicBezTo>
                  <a:pt x="353" y="341"/>
                  <a:pt x="419" y="369"/>
                  <a:pt x="469" y="414"/>
                </a:cubicBezTo>
                <a:cubicBezTo>
                  <a:pt x="525" y="363"/>
                  <a:pt x="560" y="289"/>
                  <a:pt x="560" y="20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8A98D906-80D6-4BFA-9686-A68985E5804C}"/>
              </a:ext>
            </a:extLst>
          </p:cNvPr>
          <p:cNvSpPr>
            <a:spLocks/>
          </p:cNvSpPr>
          <p:nvPr/>
        </p:nvSpPr>
        <p:spPr bwMode="auto">
          <a:xfrm>
            <a:off x="5832407" y="1701800"/>
            <a:ext cx="1301750" cy="501650"/>
          </a:xfrm>
          <a:custGeom>
            <a:avLst/>
            <a:gdLst>
              <a:gd name="T0" fmla="*/ 377 w 377"/>
              <a:gd name="T1" fmla="*/ 73 h 145"/>
              <a:gd name="T2" fmla="*/ 188 w 377"/>
              <a:gd name="T3" fmla="*/ 0 h 145"/>
              <a:gd name="T4" fmla="*/ 0 w 377"/>
              <a:gd name="T5" fmla="*/ 73 h 145"/>
              <a:gd name="T6" fmla="*/ 188 w 377"/>
              <a:gd name="T7" fmla="*/ 145 h 145"/>
              <a:gd name="T8" fmla="*/ 377 w 377"/>
              <a:gd name="T9" fmla="*/ 73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7" h="145">
                <a:moveTo>
                  <a:pt x="377" y="73"/>
                </a:moveTo>
                <a:cubicBezTo>
                  <a:pt x="327" y="28"/>
                  <a:pt x="261" y="0"/>
                  <a:pt x="188" y="0"/>
                </a:cubicBezTo>
                <a:cubicBezTo>
                  <a:pt x="116" y="0"/>
                  <a:pt x="50" y="28"/>
                  <a:pt x="0" y="73"/>
                </a:cubicBezTo>
                <a:cubicBezTo>
                  <a:pt x="50" y="118"/>
                  <a:pt x="116" y="145"/>
                  <a:pt x="188" y="145"/>
                </a:cubicBezTo>
                <a:cubicBezTo>
                  <a:pt x="261" y="145"/>
                  <a:pt x="327" y="118"/>
                  <a:pt x="377" y="73"/>
                </a:cubicBezTo>
              </a:path>
            </a:pathLst>
          </a:custGeom>
          <a:solidFill>
            <a:srgbClr val="F49C1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8ED255AF-3094-4AEB-AC46-7CFF67E9DE10}"/>
              </a:ext>
            </a:extLst>
          </p:cNvPr>
          <p:cNvSpPr>
            <a:spLocks/>
          </p:cNvSpPr>
          <p:nvPr/>
        </p:nvSpPr>
        <p:spPr bwMode="auto">
          <a:xfrm>
            <a:off x="5514907" y="3384550"/>
            <a:ext cx="1933575" cy="1431925"/>
          </a:xfrm>
          <a:custGeom>
            <a:avLst/>
            <a:gdLst>
              <a:gd name="T0" fmla="*/ 92 w 560"/>
              <a:gd name="T1" fmla="*/ 0 h 415"/>
              <a:gd name="T2" fmla="*/ 0 w 560"/>
              <a:gd name="T3" fmla="*/ 207 h 415"/>
              <a:gd name="T4" fmla="*/ 92 w 560"/>
              <a:gd name="T5" fmla="*/ 415 h 415"/>
              <a:gd name="T6" fmla="*/ 280 w 560"/>
              <a:gd name="T7" fmla="*/ 342 h 415"/>
              <a:gd name="T8" fmla="*/ 469 w 560"/>
              <a:gd name="T9" fmla="*/ 415 h 415"/>
              <a:gd name="T10" fmla="*/ 560 w 560"/>
              <a:gd name="T11" fmla="*/ 207 h 415"/>
              <a:gd name="T12" fmla="*/ 469 w 560"/>
              <a:gd name="T13" fmla="*/ 0 h 415"/>
              <a:gd name="T14" fmla="*/ 280 w 560"/>
              <a:gd name="T15" fmla="*/ 73 h 415"/>
              <a:gd name="T16" fmla="*/ 92 w 560"/>
              <a:gd name="T17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0" h="415">
                <a:moveTo>
                  <a:pt x="92" y="0"/>
                </a:moveTo>
                <a:cubicBezTo>
                  <a:pt x="36" y="51"/>
                  <a:pt x="0" y="125"/>
                  <a:pt x="0" y="207"/>
                </a:cubicBezTo>
                <a:cubicBezTo>
                  <a:pt x="0" y="290"/>
                  <a:pt x="36" y="364"/>
                  <a:pt x="92" y="415"/>
                </a:cubicBezTo>
                <a:cubicBezTo>
                  <a:pt x="142" y="370"/>
                  <a:pt x="208" y="342"/>
                  <a:pt x="280" y="342"/>
                </a:cubicBezTo>
                <a:cubicBezTo>
                  <a:pt x="353" y="342"/>
                  <a:pt x="419" y="370"/>
                  <a:pt x="469" y="415"/>
                </a:cubicBezTo>
                <a:cubicBezTo>
                  <a:pt x="525" y="364"/>
                  <a:pt x="560" y="290"/>
                  <a:pt x="560" y="207"/>
                </a:cubicBezTo>
                <a:cubicBezTo>
                  <a:pt x="560" y="125"/>
                  <a:pt x="525" y="51"/>
                  <a:pt x="469" y="0"/>
                </a:cubicBezTo>
                <a:cubicBezTo>
                  <a:pt x="419" y="45"/>
                  <a:pt x="353" y="73"/>
                  <a:pt x="280" y="73"/>
                </a:cubicBezTo>
                <a:cubicBezTo>
                  <a:pt x="208" y="73"/>
                  <a:pt x="142" y="45"/>
                  <a:pt x="92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11">
            <a:extLst>
              <a:ext uri="{FF2B5EF4-FFF2-40B4-BE49-F238E27FC236}">
                <a16:creationId xmlns:a16="http://schemas.microsoft.com/office/drawing/2014/main" id="{3FCBFAEB-D3F1-46D7-9F0B-CC9318996A90}"/>
              </a:ext>
            </a:extLst>
          </p:cNvPr>
          <p:cNvSpPr>
            <a:spLocks/>
          </p:cNvSpPr>
          <p:nvPr/>
        </p:nvSpPr>
        <p:spPr bwMode="auto">
          <a:xfrm>
            <a:off x="5832407" y="3132138"/>
            <a:ext cx="1301750" cy="503238"/>
          </a:xfrm>
          <a:custGeom>
            <a:avLst/>
            <a:gdLst>
              <a:gd name="T0" fmla="*/ 0 w 377"/>
              <a:gd name="T1" fmla="*/ 73 h 146"/>
              <a:gd name="T2" fmla="*/ 188 w 377"/>
              <a:gd name="T3" fmla="*/ 146 h 146"/>
              <a:gd name="T4" fmla="*/ 377 w 377"/>
              <a:gd name="T5" fmla="*/ 73 h 146"/>
              <a:gd name="T6" fmla="*/ 188 w 377"/>
              <a:gd name="T7" fmla="*/ 0 h 146"/>
              <a:gd name="T8" fmla="*/ 0 w 377"/>
              <a:gd name="T9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7" h="146">
                <a:moveTo>
                  <a:pt x="0" y="73"/>
                </a:moveTo>
                <a:cubicBezTo>
                  <a:pt x="50" y="118"/>
                  <a:pt x="116" y="146"/>
                  <a:pt x="188" y="146"/>
                </a:cubicBezTo>
                <a:cubicBezTo>
                  <a:pt x="261" y="146"/>
                  <a:pt x="327" y="118"/>
                  <a:pt x="377" y="73"/>
                </a:cubicBezTo>
                <a:cubicBezTo>
                  <a:pt x="327" y="28"/>
                  <a:pt x="261" y="0"/>
                  <a:pt x="188" y="0"/>
                </a:cubicBezTo>
                <a:cubicBezTo>
                  <a:pt x="116" y="0"/>
                  <a:pt x="50" y="28"/>
                  <a:pt x="0" y="73"/>
                </a:cubicBezTo>
              </a:path>
            </a:pathLst>
          </a:custGeom>
          <a:solidFill>
            <a:srgbClr val="C493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12">
            <a:extLst>
              <a:ext uri="{FF2B5EF4-FFF2-40B4-BE49-F238E27FC236}">
                <a16:creationId xmlns:a16="http://schemas.microsoft.com/office/drawing/2014/main" id="{7EDA58DF-3A69-488C-A006-F0572E56DBE4}"/>
              </a:ext>
            </a:extLst>
          </p:cNvPr>
          <p:cNvSpPr>
            <a:spLocks/>
          </p:cNvSpPr>
          <p:nvPr/>
        </p:nvSpPr>
        <p:spPr bwMode="auto">
          <a:xfrm>
            <a:off x="5514907" y="4816475"/>
            <a:ext cx="1933575" cy="1682750"/>
          </a:xfrm>
          <a:custGeom>
            <a:avLst/>
            <a:gdLst>
              <a:gd name="T0" fmla="*/ 92 w 560"/>
              <a:gd name="T1" fmla="*/ 0 h 487"/>
              <a:gd name="T2" fmla="*/ 0 w 560"/>
              <a:gd name="T3" fmla="*/ 207 h 487"/>
              <a:gd name="T4" fmla="*/ 280 w 560"/>
              <a:gd name="T5" fmla="*/ 487 h 487"/>
              <a:gd name="T6" fmla="*/ 560 w 560"/>
              <a:gd name="T7" fmla="*/ 207 h 487"/>
              <a:gd name="T8" fmla="*/ 469 w 560"/>
              <a:gd name="T9" fmla="*/ 0 h 487"/>
              <a:gd name="T10" fmla="*/ 280 w 560"/>
              <a:gd name="T11" fmla="*/ 72 h 487"/>
              <a:gd name="T12" fmla="*/ 92 w 560"/>
              <a:gd name="T13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0" h="487">
                <a:moveTo>
                  <a:pt x="92" y="0"/>
                </a:moveTo>
                <a:cubicBezTo>
                  <a:pt x="36" y="51"/>
                  <a:pt x="0" y="125"/>
                  <a:pt x="0" y="207"/>
                </a:cubicBezTo>
                <a:cubicBezTo>
                  <a:pt x="0" y="362"/>
                  <a:pt x="126" y="487"/>
                  <a:pt x="280" y="487"/>
                </a:cubicBezTo>
                <a:cubicBezTo>
                  <a:pt x="435" y="487"/>
                  <a:pt x="560" y="362"/>
                  <a:pt x="560" y="207"/>
                </a:cubicBezTo>
                <a:cubicBezTo>
                  <a:pt x="560" y="125"/>
                  <a:pt x="525" y="51"/>
                  <a:pt x="469" y="0"/>
                </a:cubicBezTo>
                <a:cubicBezTo>
                  <a:pt x="419" y="45"/>
                  <a:pt x="353" y="72"/>
                  <a:pt x="280" y="72"/>
                </a:cubicBezTo>
                <a:cubicBezTo>
                  <a:pt x="208" y="72"/>
                  <a:pt x="142" y="45"/>
                  <a:pt x="92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Freeform 13">
            <a:extLst>
              <a:ext uri="{FF2B5EF4-FFF2-40B4-BE49-F238E27FC236}">
                <a16:creationId xmlns:a16="http://schemas.microsoft.com/office/drawing/2014/main" id="{C2C37C4D-F6C6-4E9F-90F2-110E1DBA0B3E}"/>
              </a:ext>
            </a:extLst>
          </p:cNvPr>
          <p:cNvSpPr>
            <a:spLocks/>
          </p:cNvSpPr>
          <p:nvPr/>
        </p:nvSpPr>
        <p:spPr bwMode="auto">
          <a:xfrm>
            <a:off x="5832407" y="4565650"/>
            <a:ext cx="1301750" cy="500063"/>
          </a:xfrm>
          <a:custGeom>
            <a:avLst/>
            <a:gdLst>
              <a:gd name="T0" fmla="*/ 0 w 377"/>
              <a:gd name="T1" fmla="*/ 73 h 145"/>
              <a:gd name="T2" fmla="*/ 188 w 377"/>
              <a:gd name="T3" fmla="*/ 145 h 145"/>
              <a:gd name="T4" fmla="*/ 377 w 377"/>
              <a:gd name="T5" fmla="*/ 73 h 145"/>
              <a:gd name="T6" fmla="*/ 188 w 377"/>
              <a:gd name="T7" fmla="*/ 0 h 145"/>
              <a:gd name="T8" fmla="*/ 0 w 377"/>
              <a:gd name="T9" fmla="*/ 73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7" h="145">
                <a:moveTo>
                  <a:pt x="0" y="73"/>
                </a:moveTo>
                <a:cubicBezTo>
                  <a:pt x="50" y="118"/>
                  <a:pt x="116" y="145"/>
                  <a:pt x="188" y="145"/>
                </a:cubicBezTo>
                <a:cubicBezTo>
                  <a:pt x="261" y="145"/>
                  <a:pt x="327" y="118"/>
                  <a:pt x="377" y="73"/>
                </a:cubicBezTo>
                <a:cubicBezTo>
                  <a:pt x="327" y="28"/>
                  <a:pt x="261" y="0"/>
                  <a:pt x="188" y="0"/>
                </a:cubicBezTo>
                <a:cubicBezTo>
                  <a:pt x="116" y="0"/>
                  <a:pt x="50" y="28"/>
                  <a:pt x="0" y="73"/>
                </a:cubicBezTo>
              </a:path>
            </a:pathLst>
          </a:custGeom>
          <a:solidFill>
            <a:srgbClr val="4BAE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4DFA516F-82A1-4DD7-ADCF-2F77805CBAC1}"/>
              </a:ext>
            </a:extLst>
          </p:cNvPr>
          <p:cNvSpPr>
            <a:spLocks noEditPoints="1"/>
          </p:cNvSpPr>
          <p:nvPr/>
        </p:nvSpPr>
        <p:spPr bwMode="auto">
          <a:xfrm>
            <a:off x="5832407" y="1954213"/>
            <a:ext cx="1301750" cy="14288"/>
          </a:xfrm>
          <a:custGeom>
            <a:avLst/>
            <a:gdLst>
              <a:gd name="T0" fmla="*/ 4 w 377"/>
              <a:gd name="T1" fmla="*/ 3 h 4"/>
              <a:gd name="T2" fmla="*/ 4 w 377"/>
              <a:gd name="T3" fmla="*/ 4 h 4"/>
              <a:gd name="T4" fmla="*/ 4 w 377"/>
              <a:gd name="T5" fmla="*/ 3 h 4"/>
              <a:gd name="T6" fmla="*/ 4 w 377"/>
              <a:gd name="T7" fmla="*/ 3 h 4"/>
              <a:gd name="T8" fmla="*/ 4 w 377"/>
              <a:gd name="T9" fmla="*/ 3 h 4"/>
              <a:gd name="T10" fmla="*/ 4 w 377"/>
              <a:gd name="T11" fmla="*/ 3 h 4"/>
              <a:gd name="T12" fmla="*/ 0 w 377"/>
              <a:gd name="T13" fmla="*/ 0 h 4"/>
              <a:gd name="T14" fmla="*/ 4 w 377"/>
              <a:gd name="T15" fmla="*/ 3 h 4"/>
              <a:gd name="T16" fmla="*/ 0 w 377"/>
              <a:gd name="T17" fmla="*/ 0 h 4"/>
              <a:gd name="T18" fmla="*/ 0 w 377"/>
              <a:gd name="T19" fmla="*/ 0 h 4"/>
              <a:gd name="T20" fmla="*/ 0 w 377"/>
              <a:gd name="T21" fmla="*/ 0 h 4"/>
              <a:gd name="T22" fmla="*/ 0 w 377"/>
              <a:gd name="T23" fmla="*/ 0 h 4"/>
              <a:gd name="T24" fmla="*/ 377 w 377"/>
              <a:gd name="T25" fmla="*/ 0 h 4"/>
              <a:gd name="T26" fmla="*/ 376 w 377"/>
              <a:gd name="T27" fmla="*/ 0 h 4"/>
              <a:gd name="T28" fmla="*/ 377 w 377"/>
              <a:gd name="T2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77" h="4">
                <a:moveTo>
                  <a:pt x="4" y="3"/>
                </a:moveTo>
                <a:cubicBezTo>
                  <a:pt x="4" y="3"/>
                  <a:pt x="4" y="4"/>
                  <a:pt x="4" y="4"/>
                </a:cubicBezTo>
                <a:cubicBezTo>
                  <a:pt x="4" y="4"/>
                  <a:pt x="4" y="3"/>
                  <a:pt x="4" y="3"/>
                </a:cubicBezTo>
                <a:moveTo>
                  <a:pt x="4" y="3"/>
                </a:moveTo>
                <a:cubicBezTo>
                  <a:pt x="4" y="3"/>
                  <a:pt x="4" y="3"/>
                  <a:pt x="4" y="3"/>
                </a:cubicBezTo>
                <a:cubicBezTo>
                  <a:pt x="4" y="3"/>
                  <a:pt x="4" y="3"/>
                  <a:pt x="4" y="3"/>
                </a:cubicBezTo>
                <a:moveTo>
                  <a:pt x="0" y="0"/>
                </a:moveTo>
                <a:cubicBezTo>
                  <a:pt x="2" y="1"/>
                  <a:pt x="3" y="2"/>
                  <a:pt x="4" y="3"/>
                </a:cubicBezTo>
                <a:cubicBezTo>
                  <a:pt x="3" y="2"/>
                  <a:pt x="2" y="1"/>
                  <a:pt x="0" y="0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moveTo>
                  <a:pt x="377" y="0"/>
                </a:moveTo>
                <a:cubicBezTo>
                  <a:pt x="376" y="0"/>
                  <a:pt x="376" y="0"/>
                  <a:pt x="376" y="0"/>
                </a:cubicBezTo>
                <a:cubicBezTo>
                  <a:pt x="376" y="0"/>
                  <a:pt x="376" y="0"/>
                  <a:pt x="377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1A5F925A-D856-42A7-9076-EE175A5B0368}"/>
              </a:ext>
            </a:extLst>
          </p:cNvPr>
          <p:cNvSpPr>
            <a:spLocks/>
          </p:cNvSpPr>
          <p:nvPr/>
        </p:nvSpPr>
        <p:spPr bwMode="auto">
          <a:xfrm>
            <a:off x="5832407" y="1701800"/>
            <a:ext cx="1301750" cy="331788"/>
          </a:xfrm>
          <a:custGeom>
            <a:avLst/>
            <a:gdLst>
              <a:gd name="T0" fmla="*/ 188 w 377"/>
              <a:gd name="T1" fmla="*/ 0 h 96"/>
              <a:gd name="T2" fmla="*/ 0 w 377"/>
              <a:gd name="T3" fmla="*/ 73 h 96"/>
              <a:gd name="T4" fmla="*/ 0 w 377"/>
              <a:gd name="T5" fmla="*/ 73 h 96"/>
              <a:gd name="T6" fmla="*/ 0 w 377"/>
              <a:gd name="T7" fmla="*/ 73 h 96"/>
              <a:gd name="T8" fmla="*/ 0 w 377"/>
              <a:gd name="T9" fmla="*/ 73 h 96"/>
              <a:gd name="T10" fmla="*/ 4 w 377"/>
              <a:gd name="T11" fmla="*/ 76 h 96"/>
              <a:gd name="T12" fmla="*/ 4 w 377"/>
              <a:gd name="T13" fmla="*/ 76 h 96"/>
              <a:gd name="T14" fmla="*/ 4 w 377"/>
              <a:gd name="T15" fmla="*/ 76 h 96"/>
              <a:gd name="T16" fmla="*/ 4 w 377"/>
              <a:gd name="T17" fmla="*/ 76 h 96"/>
              <a:gd name="T18" fmla="*/ 4 w 377"/>
              <a:gd name="T19" fmla="*/ 77 h 96"/>
              <a:gd name="T20" fmla="*/ 29 w 377"/>
              <a:gd name="T21" fmla="*/ 96 h 96"/>
              <a:gd name="T22" fmla="*/ 214 w 377"/>
              <a:gd name="T23" fmla="*/ 26 h 96"/>
              <a:gd name="T24" fmla="*/ 373 w 377"/>
              <a:gd name="T25" fmla="*/ 75 h 96"/>
              <a:gd name="T26" fmla="*/ 376 w 377"/>
              <a:gd name="T27" fmla="*/ 73 h 96"/>
              <a:gd name="T28" fmla="*/ 377 w 377"/>
              <a:gd name="T29" fmla="*/ 73 h 96"/>
              <a:gd name="T30" fmla="*/ 377 w 377"/>
              <a:gd name="T31" fmla="*/ 73 h 96"/>
              <a:gd name="T32" fmla="*/ 188 w 377"/>
              <a:gd name="T33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77" h="96">
                <a:moveTo>
                  <a:pt x="188" y="0"/>
                </a:moveTo>
                <a:cubicBezTo>
                  <a:pt x="116" y="0"/>
                  <a:pt x="50" y="28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2" y="74"/>
                  <a:pt x="3" y="75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7"/>
                  <a:pt x="4" y="77"/>
                </a:cubicBezTo>
                <a:cubicBezTo>
                  <a:pt x="12" y="83"/>
                  <a:pt x="21" y="90"/>
                  <a:pt x="29" y="96"/>
                </a:cubicBezTo>
                <a:cubicBezTo>
                  <a:pt x="78" y="52"/>
                  <a:pt x="143" y="26"/>
                  <a:pt x="214" y="26"/>
                </a:cubicBezTo>
                <a:cubicBezTo>
                  <a:pt x="273" y="26"/>
                  <a:pt x="328" y="44"/>
                  <a:pt x="373" y="75"/>
                </a:cubicBezTo>
                <a:cubicBezTo>
                  <a:pt x="374" y="75"/>
                  <a:pt x="375" y="74"/>
                  <a:pt x="376" y="73"/>
                </a:cubicBezTo>
                <a:cubicBezTo>
                  <a:pt x="376" y="73"/>
                  <a:pt x="376" y="73"/>
                  <a:pt x="377" y="73"/>
                </a:cubicBezTo>
                <a:cubicBezTo>
                  <a:pt x="377" y="73"/>
                  <a:pt x="377" y="73"/>
                  <a:pt x="377" y="73"/>
                </a:cubicBezTo>
                <a:cubicBezTo>
                  <a:pt x="327" y="28"/>
                  <a:pt x="261" y="0"/>
                  <a:pt x="188" y="0"/>
                </a:cubicBezTo>
              </a:path>
            </a:pathLst>
          </a:custGeom>
          <a:solidFill>
            <a:srgbClr val="DC870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8F836A91-DB66-4CCB-8CD7-5A36AE0108E0}"/>
              </a:ext>
            </a:extLst>
          </p:cNvPr>
          <p:cNvSpPr>
            <a:spLocks noEditPoints="1"/>
          </p:cNvSpPr>
          <p:nvPr/>
        </p:nvSpPr>
        <p:spPr bwMode="auto">
          <a:xfrm>
            <a:off x="5832407" y="3384550"/>
            <a:ext cx="1301750" cy="3175"/>
          </a:xfrm>
          <a:custGeom>
            <a:avLst/>
            <a:gdLst>
              <a:gd name="T0" fmla="*/ 1 w 377"/>
              <a:gd name="T1" fmla="*/ 1 h 1"/>
              <a:gd name="T2" fmla="*/ 1 w 377"/>
              <a:gd name="T3" fmla="*/ 1 h 1"/>
              <a:gd name="T4" fmla="*/ 1 w 377"/>
              <a:gd name="T5" fmla="*/ 1 h 1"/>
              <a:gd name="T6" fmla="*/ 1 w 377"/>
              <a:gd name="T7" fmla="*/ 1 h 1"/>
              <a:gd name="T8" fmla="*/ 1 w 377"/>
              <a:gd name="T9" fmla="*/ 1 h 1"/>
              <a:gd name="T10" fmla="*/ 1 w 377"/>
              <a:gd name="T11" fmla="*/ 1 h 1"/>
              <a:gd name="T12" fmla="*/ 0 w 377"/>
              <a:gd name="T13" fmla="*/ 0 h 1"/>
              <a:gd name="T14" fmla="*/ 0 w 377"/>
              <a:gd name="T15" fmla="*/ 0 h 1"/>
              <a:gd name="T16" fmla="*/ 0 w 377"/>
              <a:gd name="T17" fmla="*/ 0 h 1"/>
              <a:gd name="T18" fmla="*/ 377 w 377"/>
              <a:gd name="T19" fmla="*/ 0 h 1"/>
              <a:gd name="T20" fmla="*/ 376 w 377"/>
              <a:gd name="T21" fmla="*/ 1 h 1"/>
              <a:gd name="T22" fmla="*/ 377 w 377"/>
              <a:gd name="T2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77" h="1">
                <a:moveTo>
                  <a:pt x="1" y="1"/>
                </a:move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moveTo>
                  <a:pt x="1" y="1"/>
                </a:move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moveTo>
                  <a:pt x="377" y="0"/>
                </a:moveTo>
                <a:cubicBezTo>
                  <a:pt x="376" y="0"/>
                  <a:pt x="376" y="1"/>
                  <a:pt x="376" y="1"/>
                </a:cubicBezTo>
                <a:cubicBezTo>
                  <a:pt x="376" y="1"/>
                  <a:pt x="376" y="0"/>
                  <a:pt x="377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4" name="Freeform 17">
            <a:extLst>
              <a:ext uri="{FF2B5EF4-FFF2-40B4-BE49-F238E27FC236}">
                <a16:creationId xmlns:a16="http://schemas.microsoft.com/office/drawing/2014/main" id="{9A11A8E7-BC73-4A96-9A7E-5313FC45F533}"/>
              </a:ext>
            </a:extLst>
          </p:cNvPr>
          <p:cNvSpPr>
            <a:spLocks/>
          </p:cNvSpPr>
          <p:nvPr/>
        </p:nvSpPr>
        <p:spPr bwMode="auto">
          <a:xfrm>
            <a:off x="5832407" y="3132138"/>
            <a:ext cx="1301750" cy="331788"/>
          </a:xfrm>
          <a:custGeom>
            <a:avLst/>
            <a:gdLst>
              <a:gd name="T0" fmla="*/ 188 w 377"/>
              <a:gd name="T1" fmla="*/ 0 h 96"/>
              <a:gd name="T2" fmla="*/ 0 w 377"/>
              <a:gd name="T3" fmla="*/ 73 h 96"/>
              <a:gd name="T4" fmla="*/ 0 w 377"/>
              <a:gd name="T5" fmla="*/ 73 h 96"/>
              <a:gd name="T6" fmla="*/ 0 w 377"/>
              <a:gd name="T7" fmla="*/ 73 h 96"/>
              <a:gd name="T8" fmla="*/ 1 w 377"/>
              <a:gd name="T9" fmla="*/ 74 h 96"/>
              <a:gd name="T10" fmla="*/ 1 w 377"/>
              <a:gd name="T11" fmla="*/ 74 h 96"/>
              <a:gd name="T12" fmla="*/ 1 w 377"/>
              <a:gd name="T13" fmla="*/ 74 h 96"/>
              <a:gd name="T14" fmla="*/ 1 w 377"/>
              <a:gd name="T15" fmla="*/ 74 h 96"/>
              <a:gd name="T16" fmla="*/ 29 w 377"/>
              <a:gd name="T17" fmla="*/ 96 h 96"/>
              <a:gd name="T18" fmla="*/ 214 w 377"/>
              <a:gd name="T19" fmla="*/ 26 h 96"/>
              <a:gd name="T20" fmla="*/ 373 w 377"/>
              <a:gd name="T21" fmla="*/ 76 h 96"/>
              <a:gd name="T22" fmla="*/ 376 w 377"/>
              <a:gd name="T23" fmla="*/ 74 h 96"/>
              <a:gd name="T24" fmla="*/ 377 w 377"/>
              <a:gd name="T25" fmla="*/ 73 h 96"/>
              <a:gd name="T26" fmla="*/ 377 w 377"/>
              <a:gd name="T27" fmla="*/ 73 h 96"/>
              <a:gd name="T28" fmla="*/ 188 w 377"/>
              <a:gd name="T29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77" h="96">
                <a:moveTo>
                  <a:pt x="188" y="0"/>
                </a:moveTo>
                <a:cubicBezTo>
                  <a:pt x="116" y="0"/>
                  <a:pt x="50" y="28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4"/>
                  <a:pt x="1" y="74"/>
                </a:cubicBezTo>
                <a:cubicBezTo>
                  <a:pt x="1" y="74"/>
                  <a:pt x="1" y="74"/>
                  <a:pt x="1" y="74"/>
                </a:cubicBezTo>
                <a:cubicBezTo>
                  <a:pt x="1" y="74"/>
                  <a:pt x="1" y="74"/>
                  <a:pt x="1" y="74"/>
                </a:cubicBezTo>
                <a:cubicBezTo>
                  <a:pt x="1" y="74"/>
                  <a:pt x="1" y="74"/>
                  <a:pt x="1" y="74"/>
                </a:cubicBezTo>
                <a:cubicBezTo>
                  <a:pt x="10" y="82"/>
                  <a:pt x="19" y="89"/>
                  <a:pt x="29" y="96"/>
                </a:cubicBezTo>
                <a:cubicBezTo>
                  <a:pt x="78" y="53"/>
                  <a:pt x="143" y="26"/>
                  <a:pt x="214" y="26"/>
                </a:cubicBezTo>
                <a:cubicBezTo>
                  <a:pt x="273" y="26"/>
                  <a:pt x="328" y="45"/>
                  <a:pt x="373" y="76"/>
                </a:cubicBezTo>
                <a:cubicBezTo>
                  <a:pt x="374" y="75"/>
                  <a:pt x="375" y="75"/>
                  <a:pt x="376" y="74"/>
                </a:cubicBezTo>
                <a:cubicBezTo>
                  <a:pt x="376" y="74"/>
                  <a:pt x="376" y="73"/>
                  <a:pt x="377" y="73"/>
                </a:cubicBezTo>
                <a:cubicBezTo>
                  <a:pt x="377" y="73"/>
                  <a:pt x="377" y="73"/>
                  <a:pt x="377" y="73"/>
                </a:cubicBezTo>
                <a:cubicBezTo>
                  <a:pt x="327" y="28"/>
                  <a:pt x="261" y="0"/>
                  <a:pt x="188" y="0"/>
                </a:cubicBezTo>
              </a:path>
            </a:pathLst>
          </a:custGeom>
          <a:solidFill>
            <a:srgbClr val="B67AB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Freeform 18">
            <a:extLst>
              <a:ext uri="{FF2B5EF4-FFF2-40B4-BE49-F238E27FC236}">
                <a16:creationId xmlns:a16="http://schemas.microsoft.com/office/drawing/2014/main" id="{C42FEF09-19CF-4204-B00E-321919128B76}"/>
              </a:ext>
            </a:extLst>
          </p:cNvPr>
          <p:cNvSpPr>
            <a:spLocks/>
          </p:cNvSpPr>
          <p:nvPr/>
        </p:nvSpPr>
        <p:spPr bwMode="auto">
          <a:xfrm>
            <a:off x="7134157" y="481647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6" name="Freeform 19">
            <a:extLst>
              <a:ext uri="{FF2B5EF4-FFF2-40B4-BE49-F238E27FC236}">
                <a16:creationId xmlns:a16="http://schemas.microsoft.com/office/drawing/2014/main" id="{A5FBB9DE-46F7-4EEC-8864-E5EB3D3B0EDA}"/>
              </a:ext>
            </a:extLst>
          </p:cNvPr>
          <p:cNvSpPr>
            <a:spLocks/>
          </p:cNvSpPr>
          <p:nvPr/>
        </p:nvSpPr>
        <p:spPr bwMode="auto">
          <a:xfrm>
            <a:off x="5832407" y="481647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Freeform 20">
            <a:extLst>
              <a:ext uri="{FF2B5EF4-FFF2-40B4-BE49-F238E27FC236}">
                <a16:creationId xmlns:a16="http://schemas.microsoft.com/office/drawing/2014/main" id="{6CA337F7-61DF-46F9-A85C-26918B06546E}"/>
              </a:ext>
            </a:extLst>
          </p:cNvPr>
          <p:cNvSpPr>
            <a:spLocks/>
          </p:cNvSpPr>
          <p:nvPr/>
        </p:nvSpPr>
        <p:spPr bwMode="auto">
          <a:xfrm>
            <a:off x="5832407" y="4816475"/>
            <a:ext cx="14288" cy="11113"/>
          </a:xfrm>
          <a:custGeom>
            <a:avLst/>
            <a:gdLst>
              <a:gd name="T0" fmla="*/ 0 w 4"/>
              <a:gd name="T1" fmla="*/ 0 h 3"/>
              <a:gd name="T2" fmla="*/ 4 w 4"/>
              <a:gd name="T3" fmla="*/ 3 h 3"/>
              <a:gd name="T4" fmla="*/ 0 w 4"/>
              <a:gd name="T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3">
                <a:moveTo>
                  <a:pt x="0" y="0"/>
                </a:moveTo>
                <a:cubicBezTo>
                  <a:pt x="2" y="1"/>
                  <a:pt x="3" y="2"/>
                  <a:pt x="4" y="3"/>
                </a:cubicBezTo>
                <a:cubicBezTo>
                  <a:pt x="3" y="2"/>
                  <a:pt x="2" y="1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8" name="Freeform 21">
            <a:extLst>
              <a:ext uri="{FF2B5EF4-FFF2-40B4-BE49-F238E27FC236}">
                <a16:creationId xmlns:a16="http://schemas.microsoft.com/office/drawing/2014/main" id="{EC1A7AFB-1051-4D43-8FFD-555A9672E9A9}"/>
              </a:ext>
            </a:extLst>
          </p:cNvPr>
          <p:cNvSpPr>
            <a:spLocks/>
          </p:cNvSpPr>
          <p:nvPr/>
        </p:nvSpPr>
        <p:spPr bwMode="auto">
          <a:xfrm>
            <a:off x="5846694" y="4827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Freeform 22">
            <a:extLst>
              <a:ext uri="{FF2B5EF4-FFF2-40B4-BE49-F238E27FC236}">
                <a16:creationId xmlns:a16="http://schemas.microsoft.com/office/drawing/2014/main" id="{2D6863C2-12FC-488C-934A-C131842D6C91}"/>
              </a:ext>
            </a:extLst>
          </p:cNvPr>
          <p:cNvSpPr>
            <a:spLocks/>
          </p:cNvSpPr>
          <p:nvPr/>
        </p:nvSpPr>
        <p:spPr bwMode="auto">
          <a:xfrm>
            <a:off x="5846694" y="483076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0" name="Freeform 23">
            <a:extLst>
              <a:ext uri="{FF2B5EF4-FFF2-40B4-BE49-F238E27FC236}">
                <a16:creationId xmlns:a16="http://schemas.microsoft.com/office/drawing/2014/main" id="{20B5227D-88D8-4A37-A128-18827DE52191}"/>
              </a:ext>
            </a:extLst>
          </p:cNvPr>
          <p:cNvSpPr>
            <a:spLocks/>
          </p:cNvSpPr>
          <p:nvPr/>
        </p:nvSpPr>
        <p:spPr bwMode="auto">
          <a:xfrm>
            <a:off x="5832407" y="4565650"/>
            <a:ext cx="1301750" cy="330200"/>
          </a:xfrm>
          <a:custGeom>
            <a:avLst/>
            <a:gdLst>
              <a:gd name="T0" fmla="*/ 188 w 377"/>
              <a:gd name="T1" fmla="*/ 0 h 96"/>
              <a:gd name="T2" fmla="*/ 0 w 377"/>
              <a:gd name="T3" fmla="*/ 73 h 96"/>
              <a:gd name="T4" fmla="*/ 0 w 377"/>
              <a:gd name="T5" fmla="*/ 73 h 96"/>
              <a:gd name="T6" fmla="*/ 0 w 377"/>
              <a:gd name="T7" fmla="*/ 73 h 96"/>
              <a:gd name="T8" fmla="*/ 0 w 377"/>
              <a:gd name="T9" fmla="*/ 73 h 96"/>
              <a:gd name="T10" fmla="*/ 4 w 377"/>
              <a:gd name="T11" fmla="*/ 76 h 96"/>
              <a:gd name="T12" fmla="*/ 4 w 377"/>
              <a:gd name="T13" fmla="*/ 76 h 96"/>
              <a:gd name="T14" fmla="*/ 4 w 377"/>
              <a:gd name="T15" fmla="*/ 76 h 96"/>
              <a:gd name="T16" fmla="*/ 4 w 377"/>
              <a:gd name="T17" fmla="*/ 77 h 96"/>
              <a:gd name="T18" fmla="*/ 4 w 377"/>
              <a:gd name="T19" fmla="*/ 77 h 96"/>
              <a:gd name="T20" fmla="*/ 29 w 377"/>
              <a:gd name="T21" fmla="*/ 96 h 96"/>
              <a:gd name="T22" fmla="*/ 214 w 377"/>
              <a:gd name="T23" fmla="*/ 26 h 96"/>
              <a:gd name="T24" fmla="*/ 373 w 377"/>
              <a:gd name="T25" fmla="*/ 76 h 96"/>
              <a:gd name="T26" fmla="*/ 377 w 377"/>
              <a:gd name="T27" fmla="*/ 73 h 96"/>
              <a:gd name="T28" fmla="*/ 377 w 377"/>
              <a:gd name="T29" fmla="*/ 73 h 96"/>
              <a:gd name="T30" fmla="*/ 377 w 377"/>
              <a:gd name="T31" fmla="*/ 73 h 96"/>
              <a:gd name="T32" fmla="*/ 188 w 377"/>
              <a:gd name="T33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77" h="96">
                <a:moveTo>
                  <a:pt x="188" y="0"/>
                </a:moveTo>
                <a:cubicBezTo>
                  <a:pt x="116" y="0"/>
                  <a:pt x="50" y="28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2" y="74"/>
                  <a:pt x="3" y="75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7"/>
                </a:cubicBezTo>
                <a:cubicBezTo>
                  <a:pt x="4" y="77"/>
                  <a:pt x="4" y="77"/>
                  <a:pt x="4" y="77"/>
                </a:cubicBezTo>
                <a:cubicBezTo>
                  <a:pt x="12" y="83"/>
                  <a:pt x="21" y="90"/>
                  <a:pt x="29" y="96"/>
                </a:cubicBezTo>
                <a:cubicBezTo>
                  <a:pt x="78" y="52"/>
                  <a:pt x="143" y="26"/>
                  <a:pt x="214" y="26"/>
                </a:cubicBezTo>
                <a:cubicBezTo>
                  <a:pt x="273" y="26"/>
                  <a:pt x="328" y="44"/>
                  <a:pt x="373" y="76"/>
                </a:cubicBezTo>
                <a:cubicBezTo>
                  <a:pt x="374" y="75"/>
                  <a:pt x="376" y="74"/>
                  <a:pt x="377" y="73"/>
                </a:cubicBezTo>
                <a:cubicBezTo>
                  <a:pt x="377" y="73"/>
                  <a:pt x="377" y="73"/>
                  <a:pt x="377" y="73"/>
                </a:cubicBezTo>
                <a:cubicBezTo>
                  <a:pt x="377" y="73"/>
                  <a:pt x="377" y="73"/>
                  <a:pt x="377" y="73"/>
                </a:cubicBezTo>
                <a:cubicBezTo>
                  <a:pt x="327" y="28"/>
                  <a:pt x="261" y="0"/>
                  <a:pt x="188" y="0"/>
                </a:cubicBezTo>
              </a:path>
            </a:pathLst>
          </a:custGeom>
          <a:solidFill>
            <a:srgbClr val="2AA1D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1" name="Freeform 24">
            <a:extLst>
              <a:ext uri="{FF2B5EF4-FFF2-40B4-BE49-F238E27FC236}">
                <a16:creationId xmlns:a16="http://schemas.microsoft.com/office/drawing/2014/main" id="{654DBC7C-D1D0-403C-9F5F-266B96088CEB}"/>
              </a:ext>
            </a:extLst>
          </p:cNvPr>
          <p:cNvSpPr>
            <a:spLocks/>
          </p:cNvSpPr>
          <p:nvPr/>
        </p:nvSpPr>
        <p:spPr bwMode="auto">
          <a:xfrm>
            <a:off x="7134157" y="646113"/>
            <a:ext cx="490538" cy="1481138"/>
          </a:xfrm>
          <a:custGeom>
            <a:avLst/>
            <a:gdLst>
              <a:gd name="T0" fmla="*/ 33 w 142"/>
              <a:gd name="T1" fmla="*/ 0 h 429"/>
              <a:gd name="T2" fmla="*/ 91 w 142"/>
              <a:gd name="T3" fmla="*/ 166 h 429"/>
              <a:gd name="T4" fmla="*/ 91 w 142"/>
              <a:gd name="T5" fmla="*/ 166 h 429"/>
              <a:gd name="T6" fmla="*/ 91 w 142"/>
              <a:gd name="T7" fmla="*/ 167 h 429"/>
              <a:gd name="T8" fmla="*/ 91 w 142"/>
              <a:gd name="T9" fmla="*/ 167 h 429"/>
              <a:gd name="T10" fmla="*/ 91 w 142"/>
              <a:gd name="T11" fmla="*/ 167 h 429"/>
              <a:gd name="T12" fmla="*/ 91 w 142"/>
              <a:gd name="T13" fmla="*/ 167 h 429"/>
              <a:gd name="T14" fmla="*/ 91 w 142"/>
              <a:gd name="T15" fmla="*/ 168 h 429"/>
              <a:gd name="T16" fmla="*/ 91 w 142"/>
              <a:gd name="T17" fmla="*/ 168 h 429"/>
              <a:gd name="T18" fmla="*/ 91 w 142"/>
              <a:gd name="T19" fmla="*/ 168 h 429"/>
              <a:gd name="T20" fmla="*/ 91 w 142"/>
              <a:gd name="T21" fmla="*/ 168 h 429"/>
              <a:gd name="T22" fmla="*/ 91 w 142"/>
              <a:gd name="T23" fmla="*/ 169 h 429"/>
              <a:gd name="T24" fmla="*/ 91 w 142"/>
              <a:gd name="T25" fmla="*/ 169 h 429"/>
              <a:gd name="T26" fmla="*/ 91 w 142"/>
              <a:gd name="T27" fmla="*/ 170 h 429"/>
              <a:gd name="T28" fmla="*/ 91 w 142"/>
              <a:gd name="T29" fmla="*/ 170 h 429"/>
              <a:gd name="T30" fmla="*/ 91 w 142"/>
              <a:gd name="T31" fmla="*/ 170 h 429"/>
              <a:gd name="T32" fmla="*/ 91 w 142"/>
              <a:gd name="T33" fmla="*/ 170 h 429"/>
              <a:gd name="T34" fmla="*/ 91 w 142"/>
              <a:gd name="T35" fmla="*/ 171 h 429"/>
              <a:gd name="T36" fmla="*/ 91 w 142"/>
              <a:gd name="T37" fmla="*/ 171 h 429"/>
              <a:gd name="T38" fmla="*/ 91 w 142"/>
              <a:gd name="T39" fmla="*/ 171 h 429"/>
              <a:gd name="T40" fmla="*/ 91 w 142"/>
              <a:gd name="T41" fmla="*/ 171 h 429"/>
              <a:gd name="T42" fmla="*/ 91 w 142"/>
              <a:gd name="T43" fmla="*/ 171 h 429"/>
              <a:gd name="T44" fmla="*/ 91 w 142"/>
              <a:gd name="T45" fmla="*/ 171 h 429"/>
              <a:gd name="T46" fmla="*/ 91 w 142"/>
              <a:gd name="T47" fmla="*/ 171 h 429"/>
              <a:gd name="T48" fmla="*/ 91 w 142"/>
              <a:gd name="T49" fmla="*/ 171 h 429"/>
              <a:gd name="T50" fmla="*/ 0 w 142"/>
              <a:gd name="T51" fmla="*/ 379 h 429"/>
              <a:gd name="T52" fmla="*/ 0 w 142"/>
              <a:gd name="T53" fmla="*/ 379 h 429"/>
              <a:gd name="T54" fmla="*/ 33 w 142"/>
              <a:gd name="T55" fmla="*/ 415 h 429"/>
              <a:gd name="T56" fmla="*/ 50 w 142"/>
              <a:gd name="T57" fmla="*/ 429 h 429"/>
              <a:gd name="T58" fmla="*/ 142 w 142"/>
              <a:gd name="T59" fmla="*/ 222 h 429"/>
              <a:gd name="T60" fmla="*/ 33 w 142"/>
              <a:gd name="T61" fmla="*/ 0 h 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2" h="429">
                <a:moveTo>
                  <a:pt x="33" y="0"/>
                </a:moveTo>
                <a:cubicBezTo>
                  <a:pt x="69" y="46"/>
                  <a:pt x="90" y="104"/>
                  <a:pt x="91" y="166"/>
                </a:cubicBezTo>
                <a:cubicBezTo>
                  <a:pt x="91" y="166"/>
                  <a:pt x="91" y="166"/>
                  <a:pt x="91" y="166"/>
                </a:cubicBezTo>
                <a:cubicBezTo>
                  <a:pt x="91" y="166"/>
                  <a:pt x="91" y="166"/>
                  <a:pt x="91" y="167"/>
                </a:cubicBezTo>
                <a:cubicBezTo>
                  <a:pt x="91" y="167"/>
                  <a:pt x="91" y="167"/>
                  <a:pt x="91" y="167"/>
                </a:cubicBezTo>
                <a:cubicBezTo>
                  <a:pt x="91" y="167"/>
                  <a:pt x="91" y="167"/>
                  <a:pt x="91" y="167"/>
                </a:cubicBezTo>
                <a:cubicBezTo>
                  <a:pt x="91" y="167"/>
                  <a:pt x="91" y="167"/>
                  <a:pt x="91" y="167"/>
                </a:cubicBezTo>
                <a:cubicBezTo>
                  <a:pt x="91" y="167"/>
                  <a:pt x="91" y="168"/>
                  <a:pt x="9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1" y="169"/>
                  <a:pt x="91" y="169"/>
                  <a:pt x="91" y="169"/>
                </a:cubicBezTo>
                <a:cubicBezTo>
                  <a:pt x="91" y="169"/>
                  <a:pt x="91" y="169"/>
                  <a:pt x="91" y="169"/>
                </a:cubicBezTo>
                <a:cubicBezTo>
                  <a:pt x="91" y="169"/>
                  <a:pt x="91" y="169"/>
                  <a:pt x="91" y="170"/>
                </a:cubicBezTo>
                <a:cubicBezTo>
                  <a:pt x="91" y="170"/>
                  <a:pt x="91" y="170"/>
                  <a:pt x="91" y="170"/>
                </a:cubicBezTo>
                <a:cubicBezTo>
                  <a:pt x="91" y="170"/>
                  <a:pt x="91" y="170"/>
                  <a:pt x="91" y="170"/>
                </a:cubicBezTo>
                <a:cubicBezTo>
                  <a:pt x="91" y="170"/>
                  <a:pt x="91" y="170"/>
                  <a:pt x="91" y="170"/>
                </a:cubicBezTo>
                <a:cubicBezTo>
                  <a:pt x="91" y="170"/>
                  <a:pt x="91" y="170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cubicBezTo>
                  <a:pt x="91" y="254"/>
                  <a:pt x="56" y="327"/>
                  <a:pt x="0" y="379"/>
                </a:cubicBezTo>
                <a:cubicBezTo>
                  <a:pt x="0" y="379"/>
                  <a:pt x="0" y="379"/>
                  <a:pt x="0" y="379"/>
                </a:cubicBezTo>
                <a:cubicBezTo>
                  <a:pt x="12" y="390"/>
                  <a:pt x="23" y="402"/>
                  <a:pt x="33" y="415"/>
                </a:cubicBezTo>
                <a:cubicBezTo>
                  <a:pt x="39" y="420"/>
                  <a:pt x="45" y="424"/>
                  <a:pt x="50" y="429"/>
                </a:cubicBezTo>
                <a:cubicBezTo>
                  <a:pt x="107" y="378"/>
                  <a:pt x="142" y="304"/>
                  <a:pt x="142" y="222"/>
                </a:cubicBezTo>
                <a:cubicBezTo>
                  <a:pt x="142" y="132"/>
                  <a:pt x="99" y="52"/>
                  <a:pt x="33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2" name="Freeform 25">
            <a:extLst>
              <a:ext uri="{FF2B5EF4-FFF2-40B4-BE49-F238E27FC236}">
                <a16:creationId xmlns:a16="http://schemas.microsoft.com/office/drawing/2014/main" id="{A4C531C0-5734-4ABE-8298-FA8A52F851E9}"/>
              </a:ext>
            </a:extLst>
          </p:cNvPr>
          <p:cNvSpPr>
            <a:spLocks noEditPoints="1"/>
          </p:cNvSpPr>
          <p:nvPr/>
        </p:nvSpPr>
        <p:spPr bwMode="auto">
          <a:xfrm>
            <a:off x="7134157" y="646113"/>
            <a:ext cx="314325" cy="1308100"/>
          </a:xfrm>
          <a:custGeom>
            <a:avLst/>
            <a:gdLst>
              <a:gd name="T0" fmla="*/ 91 w 91"/>
              <a:gd name="T1" fmla="*/ 171 h 379"/>
              <a:gd name="T2" fmla="*/ 0 w 91"/>
              <a:gd name="T3" fmla="*/ 379 h 379"/>
              <a:gd name="T4" fmla="*/ 0 w 91"/>
              <a:gd name="T5" fmla="*/ 379 h 379"/>
              <a:gd name="T6" fmla="*/ 91 w 91"/>
              <a:gd name="T7" fmla="*/ 171 h 379"/>
              <a:gd name="T8" fmla="*/ 91 w 91"/>
              <a:gd name="T9" fmla="*/ 171 h 379"/>
              <a:gd name="T10" fmla="*/ 91 w 91"/>
              <a:gd name="T11" fmla="*/ 171 h 379"/>
              <a:gd name="T12" fmla="*/ 91 w 91"/>
              <a:gd name="T13" fmla="*/ 171 h 379"/>
              <a:gd name="T14" fmla="*/ 91 w 91"/>
              <a:gd name="T15" fmla="*/ 171 h 379"/>
              <a:gd name="T16" fmla="*/ 91 w 91"/>
              <a:gd name="T17" fmla="*/ 171 h 379"/>
              <a:gd name="T18" fmla="*/ 91 w 91"/>
              <a:gd name="T19" fmla="*/ 171 h 379"/>
              <a:gd name="T20" fmla="*/ 91 w 91"/>
              <a:gd name="T21" fmla="*/ 171 h 379"/>
              <a:gd name="T22" fmla="*/ 91 w 91"/>
              <a:gd name="T23" fmla="*/ 170 h 379"/>
              <a:gd name="T24" fmla="*/ 91 w 91"/>
              <a:gd name="T25" fmla="*/ 171 h 379"/>
              <a:gd name="T26" fmla="*/ 91 w 91"/>
              <a:gd name="T27" fmla="*/ 170 h 379"/>
              <a:gd name="T28" fmla="*/ 91 w 91"/>
              <a:gd name="T29" fmla="*/ 170 h 379"/>
              <a:gd name="T30" fmla="*/ 91 w 91"/>
              <a:gd name="T31" fmla="*/ 170 h 379"/>
              <a:gd name="T32" fmla="*/ 91 w 91"/>
              <a:gd name="T33" fmla="*/ 170 h 379"/>
              <a:gd name="T34" fmla="*/ 91 w 91"/>
              <a:gd name="T35" fmla="*/ 169 h 379"/>
              <a:gd name="T36" fmla="*/ 91 w 91"/>
              <a:gd name="T37" fmla="*/ 170 h 379"/>
              <a:gd name="T38" fmla="*/ 91 w 91"/>
              <a:gd name="T39" fmla="*/ 169 h 379"/>
              <a:gd name="T40" fmla="*/ 91 w 91"/>
              <a:gd name="T41" fmla="*/ 168 h 379"/>
              <a:gd name="T42" fmla="*/ 91 w 91"/>
              <a:gd name="T43" fmla="*/ 169 h 379"/>
              <a:gd name="T44" fmla="*/ 91 w 91"/>
              <a:gd name="T45" fmla="*/ 168 h 379"/>
              <a:gd name="T46" fmla="*/ 91 w 91"/>
              <a:gd name="T47" fmla="*/ 168 h 379"/>
              <a:gd name="T48" fmla="*/ 91 w 91"/>
              <a:gd name="T49" fmla="*/ 168 h 379"/>
              <a:gd name="T50" fmla="*/ 91 w 91"/>
              <a:gd name="T51" fmla="*/ 168 h 379"/>
              <a:gd name="T52" fmla="*/ 91 w 91"/>
              <a:gd name="T53" fmla="*/ 167 h 379"/>
              <a:gd name="T54" fmla="*/ 91 w 91"/>
              <a:gd name="T55" fmla="*/ 168 h 379"/>
              <a:gd name="T56" fmla="*/ 91 w 91"/>
              <a:gd name="T57" fmla="*/ 167 h 379"/>
              <a:gd name="T58" fmla="*/ 91 w 91"/>
              <a:gd name="T59" fmla="*/ 167 h 379"/>
              <a:gd name="T60" fmla="*/ 91 w 91"/>
              <a:gd name="T61" fmla="*/ 167 h 379"/>
              <a:gd name="T62" fmla="*/ 91 w 91"/>
              <a:gd name="T63" fmla="*/ 167 h 379"/>
              <a:gd name="T64" fmla="*/ 91 w 91"/>
              <a:gd name="T65" fmla="*/ 166 h 379"/>
              <a:gd name="T66" fmla="*/ 91 w 91"/>
              <a:gd name="T67" fmla="*/ 167 h 379"/>
              <a:gd name="T68" fmla="*/ 91 w 91"/>
              <a:gd name="T69" fmla="*/ 166 h 379"/>
              <a:gd name="T70" fmla="*/ 33 w 91"/>
              <a:gd name="T71" fmla="*/ 0 h 379"/>
              <a:gd name="T72" fmla="*/ 91 w 91"/>
              <a:gd name="T73" fmla="*/ 166 h 379"/>
              <a:gd name="T74" fmla="*/ 33 w 91"/>
              <a:gd name="T75" fmla="*/ 0 h 379"/>
              <a:gd name="T76" fmla="*/ 33 w 91"/>
              <a:gd name="T77" fmla="*/ 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1" h="379">
                <a:moveTo>
                  <a:pt x="91" y="171"/>
                </a:moveTo>
                <a:cubicBezTo>
                  <a:pt x="91" y="254"/>
                  <a:pt x="56" y="327"/>
                  <a:pt x="0" y="379"/>
                </a:cubicBezTo>
                <a:cubicBezTo>
                  <a:pt x="0" y="379"/>
                  <a:pt x="0" y="379"/>
                  <a:pt x="0" y="379"/>
                </a:cubicBezTo>
                <a:cubicBezTo>
                  <a:pt x="56" y="327"/>
                  <a:pt x="91" y="254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moveTo>
                  <a:pt x="91" y="171"/>
                </a:move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moveTo>
                  <a:pt x="91" y="171"/>
                </a:moveTo>
                <a:cubicBezTo>
                  <a:pt x="91" y="171"/>
                  <a:pt x="91" y="171"/>
                  <a:pt x="91" y="171"/>
                </a:cubicBezTo>
                <a:cubicBezTo>
                  <a:pt x="91" y="171"/>
                  <a:pt x="91" y="171"/>
                  <a:pt x="91" y="171"/>
                </a:cubicBezTo>
                <a:moveTo>
                  <a:pt x="91" y="170"/>
                </a:moveTo>
                <a:cubicBezTo>
                  <a:pt x="91" y="170"/>
                  <a:pt x="91" y="170"/>
                  <a:pt x="91" y="171"/>
                </a:cubicBezTo>
                <a:cubicBezTo>
                  <a:pt x="91" y="170"/>
                  <a:pt x="91" y="170"/>
                  <a:pt x="91" y="170"/>
                </a:cubicBezTo>
                <a:moveTo>
                  <a:pt x="91" y="170"/>
                </a:moveTo>
                <a:cubicBezTo>
                  <a:pt x="91" y="170"/>
                  <a:pt x="91" y="170"/>
                  <a:pt x="91" y="170"/>
                </a:cubicBezTo>
                <a:cubicBezTo>
                  <a:pt x="91" y="170"/>
                  <a:pt x="91" y="170"/>
                  <a:pt x="91" y="170"/>
                </a:cubicBezTo>
                <a:moveTo>
                  <a:pt x="91" y="169"/>
                </a:moveTo>
                <a:cubicBezTo>
                  <a:pt x="91" y="169"/>
                  <a:pt x="91" y="169"/>
                  <a:pt x="91" y="170"/>
                </a:cubicBezTo>
                <a:cubicBezTo>
                  <a:pt x="91" y="169"/>
                  <a:pt x="91" y="169"/>
                  <a:pt x="91" y="169"/>
                </a:cubicBezTo>
                <a:moveTo>
                  <a:pt x="91" y="168"/>
                </a:moveTo>
                <a:cubicBezTo>
                  <a:pt x="91" y="169"/>
                  <a:pt x="91" y="169"/>
                  <a:pt x="91" y="169"/>
                </a:cubicBezTo>
                <a:cubicBezTo>
                  <a:pt x="91" y="169"/>
                  <a:pt x="91" y="169"/>
                  <a:pt x="91" y="168"/>
                </a:cubicBezTo>
                <a:moveTo>
                  <a:pt x="91" y="168"/>
                </a:moveTo>
                <a:cubicBezTo>
                  <a:pt x="91" y="168"/>
                  <a:pt x="91" y="168"/>
                  <a:pt x="91" y="168"/>
                </a:cubicBezTo>
                <a:cubicBezTo>
                  <a:pt x="91" y="168"/>
                  <a:pt x="91" y="168"/>
                  <a:pt x="91" y="168"/>
                </a:cubicBezTo>
                <a:moveTo>
                  <a:pt x="91" y="167"/>
                </a:moveTo>
                <a:cubicBezTo>
                  <a:pt x="91" y="167"/>
                  <a:pt x="91" y="168"/>
                  <a:pt x="91" y="168"/>
                </a:cubicBezTo>
                <a:cubicBezTo>
                  <a:pt x="91" y="168"/>
                  <a:pt x="91" y="167"/>
                  <a:pt x="91" y="167"/>
                </a:cubicBezTo>
                <a:moveTo>
                  <a:pt x="91" y="167"/>
                </a:moveTo>
                <a:cubicBezTo>
                  <a:pt x="91" y="167"/>
                  <a:pt x="91" y="167"/>
                  <a:pt x="91" y="167"/>
                </a:cubicBezTo>
                <a:cubicBezTo>
                  <a:pt x="91" y="167"/>
                  <a:pt x="91" y="167"/>
                  <a:pt x="91" y="167"/>
                </a:cubicBezTo>
                <a:moveTo>
                  <a:pt x="91" y="166"/>
                </a:moveTo>
                <a:cubicBezTo>
                  <a:pt x="91" y="166"/>
                  <a:pt x="91" y="166"/>
                  <a:pt x="91" y="167"/>
                </a:cubicBezTo>
                <a:cubicBezTo>
                  <a:pt x="91" y="166"/>
                  <a:pt x="91" y="166"/>
                  <a:pt x="91" y="166"/>
                </a:cubicBezTo>
                <a:moveTo>
                  <a:pt x="33" y="0"/>
                </a:moveTo>
                <a:cubicBezTo>
                  <a:pt x="69" y="46"/>
                  <a:pt x="90" y="104"/>
                  <a:pt x="91" y="166"/>
                </a:cubicBezTo>
                <a:cubicBezTo>
                  <a:pt x="90" y="104"/>
                  <a:pt x="69" y="46"/>
                  <a:pt x="33" y="0"/>
                </a:cubicBezTo>
                <a:cubicBezTo>
                  <a:pt x="33" y="0"/>
                  <a:pt x="33" y="0"/>
                  <a:pt x="33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Freeform 26">
            <a:extLst>
              <a:ext uri="{FF2B5EF4-FFF2-40B4-BE49-F238E27FC236}">
                <a16:creationId xmlns:a16="http://schemas.microsoft.com/office/drawing/2014/main" id="{03752FDC-C9A7-4293-91FA-FBE64283F3EC}"/>
              </a:ext>
            </a:extLst>
          </p:cNvPr>
          <p:cNvSpPr>
            <a:spLocks/>
          </p:cNvSpPr>
          <p:nvPr/>
        </p:nvSpPr>
        <p:spPr bwMode="auto">
          <a:xfrm>
            <a:off x="7134157" y="1954213"/>
            <a:ext cx="114300" cy="123825"/>
          </a:xfrm>
          <a:custGeom>
            <a:avLst/>
            <a:gdLst>
              <a:gd name="T0" fmla="*/ 0 w 33"/>
              <a:gd name="T1" fmla="*/ 0 h 36"/>
              <a:gd name="T2" fmla="*/ 33 w 33"/>
              <a:gd name="T3" fmla="*/ 36 h 36"/>
              <a:gd name="T4" fmla="*/ 33 w 33"/>
              <a:gd name="T5" fmla="*/ 36 h 36"/>
              <a:gd name="T6" fmla="*/ 0 w 33"/>
              <a:gd name="T7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6">
                <a:moveTo>
                  <a:pt x="0" y="0"/>
                </a:moveTo>
                <a:cubicBezTo>
                  <a:pt x="12" y="11"/>
                  <a:pt x="23" y="23"/>
                  <a:pt x="33" y="36"/>
                </a:cubicBezTo>
                <a:cubicBezTo>
                  <a:pt x="33" y="36"/>
                  <a:pt x="33" y="36"/>
                  <a:pt x="33" y="36"/>
                </a:cubicBezTo>
                <a:cubicBezTo>
                  <a:pt x="23" y="23"/>
                  <a:pt x="12" y="11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4" name="Freeform 27">
            <a:extLst>
              <a:ext uri="{FF2B5EF4-FFF2-40B4-BE49-F238E27FC236}">
                <a16:creationId xmlns:a16="http://schemas.microsoft.com/office/drawing/2014/main" id="{2BA67758-6670-4E1E-84A5-E73E43CC0DB1}"/>
              </a:ext>
            </a:extLst>
          </p:cNvPr>
          <p:cNvSpPr>
            <a:spLocks/>
          </p:cNvSpPr>
          <p:nvPr/>
        </p:nvSpPr>
        <p:spPr bwMode="auto">
          <a:xfrm>
            <a:off x="5891144" y="2127250"/>
            <a:ext cx="1733550" cy="4548188"/>
          </a:xfrm>
          <a:custGeom>
            <a:avLst/>
            <a:gdLst>
              <a:gd name="T0" fmla="*/ 451 w 502"/>
              <a:gd name="T1" fmla="*/ 150 h 1317"/>
              <a:gd name="T2" fmla="*/ 451 w 502"/>
              <a:gd name="T3" fmla="*/ 151 h 1317"/>
              <a:gd name="T4" fmla="*/ 451 w 502"/>
              <a:gd name="T5" fmla="*/ 152 h 1317"/>
              <a:gd name="T6" fmla="*/ 451 w 502"/>
              <a:gd name="T7" fmla="*/ 152 h 1317"/>
              <a:gd name="T8" fmla="*/ 451 w 502"/>
              <a:gd name="T9" fmla="*/ 153 h 1317"/>
              <a:gd name="T10" fmla="*/ 451 w 502"/>
              <a:gd name="T11" fmla="*/ 153 h 1317"/>
              <a:gd name="T12" fmla="*/ 451 w 502"/>
              <a:gd name="T13" fmla="*/ 154 h 1317"/>
              <a:gd name="T14" fmla="*/ 451 w 502"/>
              <a:gd name="T15" fmla="*/ 154 h 1317"/>
              <a:gd name="T16" fmla="*/ 451 w 502"/>
              <a:gd name="T17" fmla="*/ 155 h 1317"/>
              <a:gd name="T18" fmla="*/ 451 w 502"/>
              <a:gd name="T19" fmla="*/ 155 h 1317"/>
              <a:gd name="T20" fmla="*/ 451 w 502"/>
              <a:gd name="T21" fmla="*/ 156 h 1317"/>
              <a:gd name="T22" fmla="*/ 451 w 502"/>
              <a:gd name="T23" fmla="*/ 156 h 1317"/>
              <a:gd name="T24" fmla="*/ 451 w 502"/>
              <a:gd name="T25" fmla="*/ 157 h 1317"/>
              <a:gd name="T26" fmla="*/ 451 w 502"/>
              <a:gd name="T27" fmla="*/ 157 h 1317"/>
              <a:gd name="T28" fmla="*/ 393 w 502"/>
              <a:gd name="T29" fmla="*/ 401 h 1317"/>
              <a:gd name="T30" fmla="*/ 451 w 502"/>
              <a:gd name="T31" fmla="*/ 564 h 1317"/>
              <a:gd name="T32" fmla="*/ 451 w 502"/>
              <a:gd name="T33" fmla="*/ 565 h 1317"/>
              <a:gd name="T34" fmla="*/ 451 w 502"/>
              <a:gd name="T35" fmla="*/ 566 h 1317"/>
              <a:gd name="T36" fmla="*/ 451 w 502"/>
              <a:gd name="T37" fmla="*/ 567 h 1317"/>
              <a:gd name="T38" fmla="*/ 451 w 502"/>
              <a:gd name="T39" fmla="*/ 567 h 1317"/>
              <a:gd name="T40" fmla="*/ 451 w 502"/>
              <a:gd name="T41" fmla="*/ 568 h 1317"/>
              <a:gd name="T42" fmla="*/ 451 w 502"/>
              <a:gd name="T43" fmla="*/ 568 h 1317"/>
              <a:gd name="T44" fmla="*/ 451 w 502"/>
              <a:gd name="T45" fmla="*/ 569 h 1317"/>
              <a:gd name="T46" fmla="*/ 451 w 502"/>
              <a:gd name="T47" fmla="*/ 569 h 1317"/>
              <a:gd name="T48" fmla="*/ 451 w 502"/>
              <a:gd name="T49" fmla="*/ 570 h 1317"/>
              <a:gd name="T50" fmla="*/ 451 w 502"/>
              <a:gd name="T51" fmla="*/ 570 h 1317"/>
              <a:gd name="T52" fmla="*/ 451 w 502"/>
              <a:gd name="T53" fmla="*/ 570 h 1317"/>
              <a:gd name="T54" fmla="*/ 451 w 502"/>
              <a:gd name="T55" fmla="*/ 571 h 1317"/>
              <a:gd name="T56" fmla="*/ 451 w 502"/>
              <a:gd name="T57" fmla="*/ 571 h 1317"/>
              <a:gd name="T58" fmla="*/ 360 w 502"/>
              <a:gd name="T59" fmla="*/ 779 h 1317"/>
              <a:gd name="T60" fmla="*/ 360 w 502"/>
              <a:gd name="T61" fmla="*/ 779 h 1317"/>
              <a:gd name="T62" fmla="*/ 406 w 502"/>
              <a:gd name="T63" fmla="*/ 833 h 1317"/>
              <a:gd name="T64" fmla="*/ 451 w 502"/>
              <a:gd name="T65" fmla="*/ 980 h 1317"/>
              <a:gd name="T66" fmla="*/ 451 w 502"/>
              <a:gd name="T67" fmla="*/ 981 h 1317"/>
              <a:gd name="T68" fmla="*/ 451 w 502"/>
              <a:gd name="T69" fmla="*/ 982 h 1317"/>
              <a:gd name="T70" fmla="*/ 451 w 502"/>
              <a:gd name="T71" fmla="*/ 982 h 1317"/>
              <a:gd name="T72" fmla="*/ 451 w 502"/>
              <a:gd name="T73" fmla="*/ 983 h 1317"/>
              <a:gd name="T74" fmla="*/ 451 w 502"/>
              <a:gd name="T75" fmla="*/ 983 h 1317"/>
              <a:gd name="T76" fmla="*/ 451 w 502"/>
              <a:gd name="T77" fmla="*/ 984 h 1317"/>
              <a:gd name="T78" fmla="*/ 451 w 502"/>
              <a:gd name="T79" fmla="*/ 984 h 1317"/>
              <a:gd name="T80" fmla="*/ 451 w 502"/>
              <a:gd name="T81" fmla="*/ 985 h 1317"/>
              <a:gd name="T82" fmla="*/ 451 w 502"/>
              <a:gd name="T83" fmla="*/ 985 h 1317"/>
              <a:gd name="T84" fmla="*/ 451 w 502"/>
              <a:gd name="T85" fmla="*/ 986 h 1317"/>
              <a:gd name="T86" fmla="*/ 451 w 502"/>
              <a:gd name="T87" fmla="*/ 986 h 1317"/>
              <a:gd name="T88" fmla="*/ 171 w 502"/>
              <a:gd name="T89" fmla="*/ 1266 h 1317"/>
              <a:gd name="T90" fmla="*/ 171 w 502"/>
              <a:gd name="T91" fmla="*/ 1266 h 1317"/>
              <a:gd name="T92" fmla="*/ 170 w 502"/>
              <a:gd name="T93" fmla="*/ 1266 h 1317"/>
              <a:gd name="T94" fmla="*/ 169 w 502"/>
              <a:gd name="T95" fmla="*/ 1266 h 1317"/>
              <a:gd name="T96" fmla="*/ 168 w 502"/>
              <a:gd name="T97" fmla="*/ 1266 h 1317"/>
              <a:gd name="T98" fmla="*/ 167 w 502"/>
              <a:gd name="T99" fmla="*/ 1266 h 1317"/>
              <a:gd name="T100" fmla="*/ 222 w 502"/>
              <a:gd name="T101" fmla="*/ 1317 h 1317"/>
              <a:gd name="T102" fmla="*/ 502 w 502"/>
              <a:gd name="T103" fmla="*/ 622 h 1317"/>
              <a:gd name="T104" fmla="*/ 410 w 502"/>
              <a:gd name="T105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02" h="1317">
                <a:moveTo>
                  <a:pt x="410" y="0"/>
                </a:moveTo>
                <a:cubicBezTo>
                  <a:pt x="409" y="2"/>
                  <a:pt x="407" y="3"/>
                  <a:pt x="406" y="4"/>
                </a:cubicBezTo>
                <a:cubicBezTo>
                  <a:pt x="434" y="46"/>
                  <a:pt x="450" y="96"/>
                  <a:pt x="451" y="150"/>
                </a:cubicBezTo>
                <a:cubicBezTo>
                  <a:pt x="451" y="150"/>
                  <a:pt x="451" y="150"/>
                  <a:pt x="451" y="150"/>
                </a:cubicBezTo>
                <a:cubicBezTo>
                  <a:pt x="451" y="151"/>
                  <a:pt x="451" y="151"/>
                  <a:pt x="451" y="151"/>
                </a:cubicBezTo>
                <a:cubicBezTo>
                  <a:pt x="451" y="151"/>
                  <a:pt x="451" y="151"/>
                  <a:pt x="451" y="151"/>
                </a:cubicBezTo>
                <a:cubicBezTo>
                  <a:pt x="451" y="151"/>
                  <a:pt x="451" y="151"/>
                  <a:pt x="451" y="151"/>
                </a:cubicBezTo>
                <a:cubicBezTo>
                  <a:pt x="451" y="151"/>
                  <a:pt x="451" y="151"/>
                  <a:pt x="451" y="151"/>
                </a:cubicBezTo>
                <a:cubicBezTo>
                  <a:pt x="451" y="152"/>
                  <a:pt x="451" y="152"/>
                  <a:pt x="451" y="152"/>
                </a:cubicBezTo>
                <a:cubicBezTo>
                  <a:pt x="451" y="152"/>
                  <a:pt x="451" y="152"/>
                  <a:pt x="451" y="152"/>
                </a:cubicBezTo>
                <a:cubicBezTo>
                  <a:pt x="451" y="152"/>
                  <a:pt x="451" y="152"/>
                  <a:pt x="451" y="152"/>
                </a:cubicBezTo>
                <a:cubicBezTo>
                  <a:pt x="451" y="152"/>
                  <a:pt x="451" y="152"/>
                  <a:pt x="451" y="152"/>
                </a:cubicBezTo>
                <a:cubicBezTo>
                  <a:pt x="451" y="152"/>
                  <a:pt x="451" y="153"/>
                  <a:pt x="451" y="153"/>
                </a:cubicBezTo>
                <a:cubicBezTo>
                  <a:pt x="451" y="153"/>
                  <a:pt x="451" y="153"/>
                  <a:pt x="451" y="153"/>
                </a:cubicBezTo>
                <a:cubicBezTo>
                  <a:pt x="451" y="153"/>
                  <a:pt x="451" y="153"/>
                  <a:pt x="451" y="153"/>
                </a:cubicBezTo>
                <a:cubicBezTo>
                  <a:pt x="451" y="153"/>
                  <a:pt x="451" y="153"/>
                  <a:pt x="451" y="153"/>
                </a:cubicBezTo>
                <a:cubicBezTo>
                  <a:pt x="451" y="153"/>
                  <a:pt x="451" y="153"/>
                  <a:pt x="451" y="153"/>
                </a:cubicBezTo>
                <a:cubicBezTo>
                  <a:pt x="451" y="153"/>
                  <a:pt x="451" y="153"/>
                  <a:pt x="451" y="153"/>
                </a:cubicBezTo>
                <a:cubicBezTo>
                  <a:pt x="451" y="153"/>
                  <a:pt x="451" y="154"/>
                  <a:pt x="451" y="154"/>
                </a:cubicBezTo>
                <a:cubicBezTo>
                  <a:pt x="451" y="154"/>
                  <a:pt x="451" y="154"/>
                  <a:pt x="451" y="154"/>
                </a:cubicBezTo>
                <a:cubicBezTo>
                  <a:pt x="451" y="154"/>
                  <a:pt x="451" y="154"/>
                  <a:pt x="451" y="154"/>
                </a:cubicBezTo>
                <a:cubicBezTo>
                  <a:pt x="451" y="154"/>
                  <a:pt x="451" y="154"/>
                  <a:pt x="451" y="154"/>
                </a:cubicBezTo>
                <a:cubicBezTo>
                  <a:pt x="451" y="154"/>
                  <a:pt x="451" y="154"/>
                  <a:pt x="451" y="154"/>
                </a:cubicBezTo>
                <a:cubicBezTo>
                  <a:pt x="451" y="154"/>
                  <a:pt x="451" y="154"/>
                  <a:pt x="451" y="154"/>
                </a:cubicBezTo>
                <a:cubicBezTo>
                  <a:pt x="451" y="154"/>
                  <a:pt x="451" y="155"/>
                  <a:pt x="451" y="155"/>
                </a:cubicBezTo>
                <a:cubicBezTo>
                  <a:pt x="451" y="155"/>
                  <a:pt x="451" y="155"/>
                  <a:pt x="451" y="155"/>
                </a:cubicBezTo>
                <a:cubicBezTo>
                  <a:pt x="451" y="155"/>
                  <a:pt x="451" y="155"/>
                  <a:pt x="451" y="155"/>
                </a:cubicBezTo>
                <a:cubicBezTo>
                  <a:pt x="451" y="155"/>
                  <a:pt x="451" y="155"/>
                  <a:pt x="451" y="155"/>
                </a:cubicBezTo>
                <a:cubicBezTo>
                  <a:pt x="451" y="155"/>
                  <a:pt x="451" y="155"/>
                  <a:pt x="451" y="155"/>
                </a:cubicBezTo>
                <a:cubicBezTo>
                  <a:pt x="451" y="155"/>
                  <a:pt x="451" y="155"/>
                  <a:pt x="451" y="155"/>
                </a:cubicBezTo>
                <a:cubicBezTo>
                  <a:pt x="451" y="155"/>
                  <a:pt x="451" y="156"/>
                  <a:pt x="451" y="156"/>
                </a:cubicBezTo>
                <a:cubicBezTo>
                  <a:pt x="451" y="156"/>
                  <a:pt x="451" y="156"/>
                  <a:pt x="451" y="156"/>
                </a:cubicBezTo>
                <a:cubicBezTo>
                  <a:pt x="451" y="156"/>
                  <a:pt x="451" y="156"/>
                  <a:pt x="451" y="156"/>
                </a:cubicBezTo>
                <a:cubicBezTo>
                  <a:pt x="451" y="156"/>
                  <a:pt x="451" y="156"/>
                  <a:pt x="451" y="156"/>
                </a:cubicBezTo>
                <a:cubicBezTo>
                  <a:pt x="451" y="156"/>
                  <a:pt x="451" y="156"/>
                  <a:pt x="451" y="156"/>
                </a:cubicBezTo>
                <a:cubicBezTo>
                  <a:pt x="451" y="156"/>
                  <a:pt x="451" y="156"/>
                  <a:pt x="451" y="156"/>
                </a:cubicBezTo>
                <a:cubicBezTo>
                  <a:pt x="451" y="156"/>
                  <a:pt x="451" y="156"/>
                  <a:pt x="451" y="157"/>
                </a:cubicBezTo>
                <a:cubicBezTo>
                  <a:pt x="451" y="157"/>
                  <a:pt x="451" y="157"/>
                  <a:pt x="451" y="157"/>
                </a:cubicBezTo>
                <a:cubicBezTo>
                  <a:pt x="451" y="157"/>
                  <a:pt x="451" y="157"/>
                  <a:pt x="451" y="157"/>
                </a:cubicBezTo>
                <a:cubicBezTo>
                  <a:pt x="451" y="157"/>
                  <a:pt x="451" y="157"/>
                  <a:pt x="451" y="157"/>
                </a:cubicBezTo>
                <a:cubicBezTo>
                  <a:pt x="451" y="157"/>
                  <a:pt x="451" y="157"/>
                  <a:pt x="451" y="157"/>
                </a:cubicBezTo>
                <a:cubicBezTo>
                  <a:pt x="451" y="157"/>
                  <a:pt x="451" y="157"/>
                  <a:pt x="451" y="157"/>
                </a:cubicBezTo>
                <a:cubicBezTo>
                  <a:pt x="451" y="239"/>
                  <a:pt x="416" y="313"/>
                  <a:pt x="360" y="364"/>
                </a:cubicBezTo>
                <a:cubicBezTo>
                  <a:pt x="360" y="364"/>
                  <a:pt x="360" y="364"/>
                  <a:pt x="360" y="364"/>
                </a:cubicBezTo>
                <a:cubicBezTo>
                  <a:pt x="372" y="375"/>
                  <a:pt x="383" y="387"/>
                  <a:pt x="393" y="401"/>
                </a:cubicBezTo>
                <a:cubicBezTo>
                  <a:pt x="399" y="405"/>
                  <a:pt x="405" y="410"/>
                  <a:pt x="410" y="415"/>
                </a:cubicBezTo>
                <a:cubicBezTo>
                  <a:pt x="409" y="416"/>
                  <a:pt x="407" y="417"/>
                  <a:pt x="406" y="419"/>
                </a:cubicBezTo>
                <a:cubicBezTo>
                  <a:pt x="433" y="461"/>
                  <a:pt x="450" y="510"/>
                  <a:pt x="451" y="564"/>
                </a:cubicBezTo>
                <a:cubicBezTo>
                  <a:pt x="451" y="564"/>
                  <a:pt x="451" y="564"/>
                  <a:pt x="451" y="564"/>
                </a:cubicBezTo>
                <a:cubicBezTo>
                  <a:pt x="451" y="564"/>
                  <a:pt x="451" y="565"/>
                  <a:pt x="451" y="565"/>
                </a:cubicBezTo>
                <a:cubicBezTo>
                  <a:pt x="451" y="565"/>
                  <a:pt x="451" y="565"/>
                  <a:pt x="451" y="565"/>
                </a:cubicBezTo>
                <a:cubicBezTo>
                  <a:pt x="451" y="565"/>
                  <a:pt x="451" y="565"/>
                  <a:pt x="451" y="566"/>
                </a:cubicBezTo>
                <a:cubicBezTo>
                  <a:pt x="451" y="566"/>
                  <a:pt x="451" y="566"/>
                  <a:pt x="451" y="566"/>
                </a:cubicBezTo>
                <a:cubicBezTo>
                  <a:pt x="451" y="566"/>
                  <a:pt x="451" y="566"/>
                  <a:pt x="451" y="566"/>
                </a:cubicBezTo>
                <a:cubicBezTo>
                  <a:pt x="451" y="566"/>
                  <a:pt x="451" y="566"/>
                  <a:pt x="451" y="566"/>
                </a:cubicBezTo>
                <a:cubicBezTo>
                  <a:pt x="451" y="566"/>
                  <a:pt x="451" y="566"/>
                  <a:pt x="451" y="566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7"/>
                  <a:pt x="451" y="567"/>
                </a:cubicBezTo>
                <a:cubicBezTo>
                  <a:pt x="451" y="567"/>
                  <a:pt x="451" y="568"/>
                  <a:pt x="451" y="568"/>
                </a:cubicBezTo>
                <a:cubicBezTo>
                  <a:pt x="451" y="568"/>
                  <a:pt x="451" y="568"/>
                  <a:pt x="451" y="568"/>
                </a:cubicBezTo>
                <a:cubicBezTo>
                  <a:pt x="451" y="568"/>
                  <a:pt x="451" y="568"/>
                  <a:pt x="451" y="568"/>
                </a:cubicBezTo>
                <a:cubicBezTo>
                  <a:pt x="451" y="568"/>
                  <a:pt x="451" y="568"/>
                  <a:pt x="451" y="568"/>
                </a:cubicBezTo>
                <a:cubicBezTo>
                  <a:pt x="451" y="568"/>
                  <a:pt x="451" y="568"/>
                  <a:pt x="451" y="568"/>
                </a:cubicBezTo>
                <a:cubicBezTo>
                  <a:pt x="451" y="568"/>
                  <a:pt x="451" y="568"/>
                  <a:pt x="451" y="568"/>
                </a:cubicBezTo>
                <a:cubicBezTo>
                  <a:pt x="451" y="568"/>
                  <a:pt x="451" y="569"/>
                  <a:pt x="451" y="569"/>
                </a:cubicBezTo>
                <a:cubicBezTo>
                  <a:pt x="451" y="569"/>
                  <a:pt x="451" y="569"/>
                  <a:pt x="451" y="569"/>
                </a:cubicBezTo>
                <a:cubicBezTo>
                  <a:pt x="451" y="569"/>
                  <a:pt x="451" y="569"/>
                  <a:pt x="451" y="569"/>
                </a:cubicBezTo>
                <a:cubicBezTo>
                  <a:pt x="451" y="569"/>
                  <a:pt x="451" y="569"/>
                  <a:pt x="451" y="569"/>
                </a:cubicBezTo>
                <a:cubicBezTo>
                  <a:pt x="451" y="569"/>
                  <a:pt x="451" y="569"/>
                  <a:pt x="451" y="569"/>
                </a:cubicBezTo>
                <a:cubicBezTo>
                  <a:pt x="451" y="569"/>
                  <a:pt x="451" y="569"/>
                  <a:pt x="451" y="569"/>
                </a:cubicBezTo>
                <a:cubicBezTo>
                  <a:pt x="451" y="569"/>
                  <a:pt x="451" y="569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0"/>
                  <a:pt x="451" y="570"/>
                  <a:pt x="451" y="570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571"/>
                  <a:pt x="451" y="571"/>
                  <a:pt x="451" y="571"/>
                </a:cubicBezTo>
                <a:cubicBezTo>
                  <a:pt x="451" y="654"/>
                  <a:pt x="416" y="728"/>
                  <a:pt x="360" y="779"/>
                </a:cubicBezTo>
                <a:cubicBezTo>
                  <a:pt x="360" y="779"/>
                  <a:pt x="360" y="779"/>
                  <a:pt x="360" y="779"/>
                </a:cubicBezTo>
                <a:cubicBezTo>
                  <a:pt x="360" y="779"/>
                  <a:pt x="360" y="779"/>
                  <a:pt x="360" y="779"/>
                </a:cubicBezTo>
                <a:cubicBezTo>
                  <a:pt x="360" y="779"/>
                  <a:pt x="360" y="779"/>
                  <a:pt x="360" y="779"/>
                </a:cubicBezTo>
                <a:cubicBezTo>
                  <a:pt x="372" y="790"/>
                  <a:pt x="383" y="802"/>
                  <a:pt x="393" y="815"/>
                </a:cubicBezTo>
                <a:cubicBezTo>
                  <a:pt x="399" y="820"/>
                  <a:pt x="405" y="824"/>
                  <a:pt x="410" y="829"/>
                </a:cubicBezTo>
                <a:cubicBezTo>
                  <a:pt x="409" y="831"/>
                  <a:pt x="407" y="832"/>
                  <a:pt x="406" y="833"/>
                </a:cubicBezTo>
                <a:cubicBezTo>
                  <a:pt x="434" y="876"/>
                  <a:pt x="450" y="926"/>
                  <a:pt x="451" y="980"/>
                </a:cubicBezTo>
                <a:cubicBezTo>
                  <a:pt x="451" y="980"/>
                  <a:pt x="451" y="980"/>
                  <a:pt x="451" y="980"/>
                </a:cubicBezTo>
                <a:cubicBezTo>
                  <a:pt x="451" y="980"/>
                  <a:pt x="451" y="980"/>
                  <a:pt x="451" y="980"/>
                </a:cubicBezTo>
                <a:cubicBezTo>
                  <a:pt x="451" y="980"/>
                  <a:pt x="451" y="980"/>
                  <a:pt x="451" y="980"/>
                </a:cubicBezTo>
                <a:cubicBezTo>
                  <a:pt x="451" y="981"/>
                  <a:pt x="451" y="981"/>
                  <a:pt x="451" y="981"/>
                </a:cubicBezTo>
                <a:cubicBezTo>
                  <a:pt x="451" y="981"/>
                  <a:pt x="451" y="981"/>
                  <a:pt x="451" y="981"/>
                </a:cubicBezTo>
                <a:cubicBezTo>
                  <a:pt x="451" y="981"/>
                  <a:pt x="451" y="981"/>
                  <a:pt x="451" y="981"/>
                </a:cubicBezTo>
                <a:cubicBezTo>
                  <a:pt x="451" y="981"/>
                  <a:pt x="451" y="981"/>
                  <a:pt x="451" y="981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2"/>
                  <a:pt x="451" y="982"/>
                </a:cubicBezTo>
                <a:cubicBezTo>
                  <a:pt x="451" y="982"/>
                  <a:pt x="451" y="983"/>
                  <a:pt x="451" y="983"/>
                </a:cubicBezTo>
                <a:cubicBezTo>
                  <a:pt x="451" y="983"/>
                  <a:pt x="451" y="983"/>
                  <a:pt x="451" y="983"/>
                </a:cubicBezTo>
                <a:cubicBezTo>
                  <a:pt x="451" y="983"/>
                  <a:pt x="451" y="983"/>
                  <a:pt x="451" y="983"/>
                </a:cubicBezTo>
                <a:cubicBezTo>
                  <a:pt x="451" y="983"/>
                  <a:pt x="451" y="983"/>
                  <a:pt x="451" y="983"/>
                </a:cubicBezTo>
                <a:cubicBezTo>
                  <a:pt x="451" y="983"/>
                  <a:pt x="451" y="983"/>
                  <a:pt x="451" y="983"/>
                </a:cubicBezTo>
                <a:cubicBezTo>
                  <a:pt x="451" y="983"/>
                  <a:pt x="451" y="983"/>
                  <a:pt x="451" y="983"/>
                </a:cubicBezTo>
                <a:cubicBezTo>
                  <a:pt x="451" y="983"/>
                  <a:pt x="451" y="984"/>
                  <a:pt x="451" y="984"/>
                </a:cubicBezTo>
                <a:cubicBezTo>
                  <a:pt x="451" y="984"/>
                  <a:pt x="451" y="984"/>
                  <a:pt x="451" y="984"/>
                </a:cubicBezTo>
                <a:cubicBezTo>
                  <a:pt x="451" y="984"/>
                  <a:pt x="451" y="984"/>
                  <a:pt x="451" y="984"/>
                </a:cubicBezTo>
                <a:cubicBezTo>
                  <a:pt x="451" y="984"/>
                  <a:pt x="451" y="984"/>
                  <a:pt x="451" y="984"/>
                </a:cubicBezTo>
                <a:cubicBezTo>
                  <a:pt x="451" y="984"/>
                  <a:pt x="451" y="984"/>
                  <a:pt x="451" y="984"/>
                </a:cubicBezTo>
                <a:cubicBezTo>
                  <a:pt x="451" y="984"/>
                  <a:pt x="451" y="984"/>
                  <a:pt x="451" y="984"/>
                </a:cubicBezTo>
                <a:cubicBezTo>
                  <a:pt x="451" y="984"/>
                  <a:pt x="451" y="985"/>
                  <a:pt x="451" y="985"/>
                </a:cubicBezTo>
                <a:cubicBezTo>
                  <a:pt x="451" y="985"/>
                  <a:pt x="451" y="985"/>
                  <a:pt x="451" y="985"/>
                </a:cubicBezTo>
                <a:cubicBezTo>
                  <a:pt x="451" y="985"/>
                  <a:pt x="451" y="985"/>
                  <a:pt x="451" y="985"/>
                </a:cubicBezTo>
                <a:cubicBezTo>
                  <a:pt x="451" y="985"/>
                  <a:pt x="451" y="985"/>
                  <a:pt x="451" y="985"/>
                </a:cubicBezTo>
                <a:cubicBezTo>
                  <a:pt x="451" y="985"/>
                  <a:pt x="451" y="985"/>
                  <a:pt x="451" y="985"/>
                </a:cubicBezTo>
                <a:cubicBezTo>
                  <a:pt x="451" y="985"/>
                  <a:pt x="451" y="985"/>
                  <a:pt x="451" y="985"/>
                </a:cubicBezTo>
                <a:cubicBezTo>
                  <a:pt x="451" y="985"/>
                  <a:pt x="451" y="986"/>
                  <a:pt x="451" y="986"/>
                </a:cubicBezTo>
                <a:cubicBezTo>
                  <a:pt x="451" y="986"/>
                  <a:pt x="451" y="986"/>
                  <a:pt x="451" y="986"/>
                </a:cubicBezTo>
                <a:cubicBezTo>
                  <a:pt x="451" y="986"/>
                  <a:pt x="451" y="986"/>
                  <a:pt x="451" y="986"/>
                </a:cubicBezTo>
                <a:cubicBezTo>
                  <a:pt x="451" y="986"/>
                  <a:pt x="451" y="986"/>
                  <a:pt x="451" y="986"/>
                </a:cubicBezTo>
                <a:cubicBezTo>
                  <a:pt x="451" y="986"/>
                  <a:pt x="451" y="986"/>
                  <a:pt x="451" y="986"/>
                </a:cubicBezTo>
                <a:cubicBezTo>
                  <a:pt x="451" y="986"/>
                  <a:pt x="451" y="986"/>
                  <a:pt x="451" y="986"/>
                </a:cubicBezTo>
                <a:cubicBezTo>
                  <a:pt x="451" y="1141"/>
                  <a:pt x="326" y="1266"/>
                  <a:pt x="171" y="1266"/>
                </a:cubicBezTo>
                <a:cubicBezTo>
                  <a:pt x="171" y="1266"/>
                  <a:pt x="171" y="1266"/>
                  <a:pt x="171" y="1266"/>
                </a:cubicBezTo>
                <a:cubicBezTo>
                  <a:pt x="171" y="1266"/>
                  <a:pt x="171" y="1266"/>
                  <a:pt x="171" y="1266"/>
                </a:cubicBezTo>
                <a:cubicBezTo>
                  <a:pt x="171" y="1266"/>
                  <a:pt x="171" y="1266"/>
                  <a:pt x="171" y="1266"/>
                </a:cubicBezTo>
                <a:cubicBezTo>
                  <a:pt x="171" y="1266"/>
                  <a:pt x="171" y="1266"/>
                  <a:pt x="171" y="1266"/>
                </a:cubicBezTo>
                <a:cubicBezTo>
                  <a:pt x="170" y="1266"/>
                  <a:pt x="170" y="1266"/>
                  <a:pt x="170" y="1266"/>
                </a:cubicBezTo>
                <a:cubicBezTo>
                  <a:pt x="170" y="1266"/>
                  <a:pt x="170" y="1266"/>
                  <a:pt x="170" y="1266"/>
                </a:cubicBezTo>
                <a:cubicBezTo>
                  <a:pt x="170" y="1266"/>
                  <a:pt x="170" y="1266"/>
                  <a:pt x="170" y="1266"/>
                </a:cubicBezTo>
                <a:cubicBezTo>
                  <a:pt x="169" y="1266"/>
                  <a:pt x="169" y="1266"/>
                  <a:pt x="169" y="1266"/>
                </a:cubicBezTo>
                <a:cubicBezTo>
                  <a:pt x="169" y="1266"/>
                  <a:pt x="169" y="1266"/>
                  <a:pt x="169" y="1266"/>
                </a:cubicBezTo>
                <a:cubicBezTo>
                  <a:pt x="169" y="1266"/>
                  <a:pt x="169" y="1266"/>
                  <a:pt x="169" y="1266"/>
                </a:cubicBezTo>
                <a:cubicBezTo>
                  <a:pt x="169" y="1266"/>
                  <a:pt x="169" y="1266"/>
                  <a:pt x="168" y="1266"/>
                </a:cubicBezTo>
                <a:cubicBezTo>
                  <a:pt x="168" y="1266"/>
                  <a:pt x="168" y="1266"/>
                  <a:pt x="168" y="1266"/>
                </a:cubicBezTo>
                <a:cubicBezTo>
                  <a:pt x="168" y="1266"/>
                  <a:pt x="168" y="1266"/>
                  <a:pt x="168" y="1266"/>
                </a:cubicBezTo>
                <a:cubicBezTo>
                  <a:pt x="168" y="1266"/>
                  <a:pt x="168" y="1266"/>
                  <a:pt x="168" y="1266"/>
                </a:cubicBezTo>
                <a:cubicBezTo>
                  <a:pt x="167" y="1266"/>
                  <a:pt x="167" y="1266"/>
                  <a:pt x="167" y="1266"/>
                </a:cubicBezTo>
                <a:cubicBezTo>
                  <a:pt x="167" y="1266"/>
                  <a:pt x="167" y="1266"/>
                  <a:pt x="167" y="1266"/>
                </a:cubicBezTo>
                <a:cubicBezTo>
                  <a:pt x="104" y="1265"/>
                  <a:pt x="47" y="1243"/>
                  <a:pt x="0" y="1208"/>
                </a:cubicBezTo>
                <a:cubicBezTo>
                  <a:pt x="52" y="1274"/>
                  <a:pt x="132" y="1317"/>
                  <a:pt x="222" y="1317"/>
                </a:cubicBezTo>
                <a:cubicBezTo>
                  <a:pt x="377" y="1317"/>
                  <a:pt x="502" y="1191"/>
                  <a:pt x="502" y="1037"/>
                </a:cubicBezTo>
                <a:cubicBezTo>
                  <a:pt x="502" y="955"/>
                  <a:pt x="467" y="881"/>
                  <a:pt x="410" y="829"/>
                </a:cubicBezTo>
                <a:cubicBezTo>
                  <a:pt x="467" y="778"/>
                  <a:pt x="502" y="704"/>
                  <a:pt x="502" y="622"/>
                </a:cubicBezTo>
                <a:cubicBezTo>
                  <a:pt x="502" y="540"/>
                  <a:pt x="467" y="466"/>
                  <a:pt x="410" y="415"/>
                </a:cubicBezTo>
                <a:cubicBezTo>
                  <a:pt x="467" y="364"/>
                  <a:pt x="502" y="290"/>
                  <a:pt x="502" y="208"/>
                </a:cubicBezTo>
                <a:cubicBezTo>
                  <a:pt x="502" y="125"/>
                  <a:pt x="467" y="52"/>
                  <a:pt x="410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33FA8B0C-814E-4B72-9F54-D9DD78E827E7}"/>
              </a:ext>
            </a:extLst>
          </p:cNvPr>
          <p:cNvSpPr>
            <a:spLocks noEditPoints="1"/>
          </p:cNvSpPr>
          <p:nvPr/>
        </p:nvSpPr>
        <p:spPr bwMode="auto">
          <a:xfrm>
            <a:off x="7134157" y="2141538"/>
            <a:ext cx="314325" cy="1243013"/>
          </a:xfrm>
          <a:custGeom>
            <a:avLst/>
            <a:gdLst>
              <a:gd name="T0" fmla="*/ 91 w 91"/>
              <a:gd name="T1" fmla="*/ 153 h 360"/>
              <a:gd name="T2" fmla="*/ 0 w 91"/>
              <a:gd name="T3" fmla="*/ 360 h 360"/>
              <a:gd name="T4" fmla="*/ 0 w 91"/>
              <a:gd name="T5" fmla="*/ 360 h 360"/>
              <a:gd name="T6" fmla="*/ 91 w 91"/>
              <a:gd name="T7" fmla="*/ 153 h 360"/>
              <a:gd name="T8" fmla="*/ 91 w 91"/>
              <a:gd name="T9" fmla="*/ 153 h 360"/>
              <a:gd name="T10" fmla="*/ 91 w 91"/>
              <a:gd name="T11" fmla="*/ 153 h 360"/>
              <a:gd name="T12" fmla="*/ 91 w 91"/>
              <a:gd name="T13" fmla="*/ 153 h 360"/>
              <a:gd name="T14" fmla="*/ 91 w 91"/>
              <a:gd name="T15" fmla="*/ 153 h 360"/>
              <a:gd name="T16" fmla="*/ 91 w 91"/>
              <a:gd name="T17" fmla="*/ 152 h 360"/>
              <a:gd name="T18" fmla="*/ 91 w 91"/>
              <a:gd name="T19" fmla="*/ 153 h 360"/>
              <a:gd name="T20" fmla="*/ 91 w 91"/>
              <a:gd name="T21" fmla="*/ 152 h 360"/>
              <a:gd name="T22" fmla="*/ 91 w 91"/>
              <a:gd name="T23" fmla="*/ 152 h 360"/>
              <a:gd name="T24" fmla="*/ 91 w 91"/>
              <a:gd name="T25" fmla="*/ 152 h 360"/>
              <a:gd name="T26" fmla="*/ 91 w 91"/>
              <a:gd name="T27" fmla="*/ 152 h 360"/>
              <a:gd name="T28" fmla="*/ 91 w 91"/>
              <a:gd name="T29" fmla="*/ 152 h 360"/>
              <a:gd name="T30" fmla="*/ 91 w 91"/>
              <a:gd name="T31" fmla="*/ 152 h 360"/>
              <a:gd name="T32" fmla="*/ 91 w 91"/>
              <a:gd name="T33" fmla="*/ 152 h 360"/>
              <a:gd name="T34" fmla="*/ 91 w 91"/>
              <a:gd name="T35" fmla="*/ 151 h 360"/>
              <a:gd name="T36" fmla="*/ 91 w 91"/>
              <a:gd name="T37" fmla="*/ 152 h 360"/>
              <a:gd name="T38" fmla="*/ 91 w 91"/>
              <a:gd name="T39" fmla="*/ 151 h 360"/>
              <a:gd name="T40" fmla="*/ 91 w 91"/>
              <a:gd name="T41" fmla="*/ 151 h 360"/>
              <a:gd name="T42" fmla="*/ 91 w 91"/>
              <a:gd name="T43" fmla="*/ 151 h 360"/>
              <a:gd name="T44" fmla="*/ 91 w 91"/>
              <a:gd name="T45" fmla="*/ 151 h 360"/>
              <a:gd name="T46" fmla="*/ 91 w 91"/>
              <a:gd name="T47" fmla="*/ 151 h 360"/>
              <a:gd name="T48" fmla="*/ 91 w 91"/>
              <a:gd name="T49" fmla="*/ 151 h 360"/>
              <a:gd name="T50" fmla="*/ 91 w 91"/>
              <a:gd name="T51" fmla="*/ 151 h 360"/>
              <a:gd name="T52" fmla="*/ 91 w 91"/>
              <a:gd name="T53" fmla="*/ 150 h 360"/>
              <a:gd name="T54" fmla="*/ 91 w 91"/>
              <a:gd name="T55" fmla="*/ 151 h 360"/>
              <a:gd name="T56" fmla="*/ 91 w 91"/>
              <a:gd name="T57" fmla="*/ 150 h 360"/>
              <a:gd name="T58" fmla="*/ 91 w 91"/>
              <a:gd name="T59" fmla="*/ 150 h 360"/>
              <a:gd name="T60" fmla="*/ 91 w 91"/>
              <a:gd name="T61" fmla="*/ 150 h 360"/>
              <a:gd name="T62" fmla="*/ 91 w 91"/>
              <a:gd name="T63" fmla="*/ 150 h 360"/>
              <a:gd name="T64" fmla="*/ 91 w 91"/>
              <a:gd name="T65" fmla="*/ 150 h 360"/>
              <a:gd name="T66" fmla="*/ 91 w 91"/>
              <a:gd name="T67" fmla="*/ 150 h 360"/>
              <a:gd name="T68" fmla="*/ 91 w 91"/>
              <a:gd name="T69" fmla="*/ 150 h 360"/>
              <a:gd name="T70" fmla="*/ 91 w 91"/>
              <a:gd name="T71" fmla="*/ 149 h 360"/>
              <a:gd name="T72" fmla="*/ 91 w 91"/>
              <a:gd name="T73" fmla="*/ 150 h 360"/>
              <a:gd name="T74" fmla="*/ 91 w 91"/>
              <a:gd name="T75" fmla="*/ 149 h 360"/>
              <a:gd name="T76" fmla="*/ 91 w 91"/>
              <a:gd name="T77" fmla="*/ 149 h 360"/>
              <a:gd name="T78" fmla="*/ 91 w 91"/>
              <a:gd name="T79" fmla="*/ 149 h 360"/>
              <a:gd name="T80" fmla="*/ 91 w 91"/>
              <a:gd name="T81" fmla="*/ 149 h 360"/>
              <a:gd name="T82" fmla="*/ 91 w 91"/>
              <a:gd name="T83" fmla="*/ 149 h 360"/>
              <a:gd name="T84" fmla="*/ 91 w 91"/>
              <a:gd name="T85" fmla="*/ 149 h 360"/>
              <a:gd name="T86" fmla="*/ 91 w 91"/>
              <a:gd name="T87" fmla="*/ 149 h 360"/>
              <a:gd name="T88" fmla="*/ 91 w 91"/>
              <a:gd name="T89" fmla="*/ 148 h 360"/>
              <a:gd name="T90" fmla="*/ 91 w 91"/>
              <a:gd name="T91" fmla="*/ 149 h 360"/>
              <a:gd name="T92" fmla="*/ 91 w 91"/>
              <a:gd name="T93" fmla="*/ 148 h 360"/>
              <a:gd name="T94" fmla="*/ 91 w 91"/>
              <a:gd name="T95" fmla="*/ 148 h 360"/>
              <a:gd name="T96" fmla="*/ 91 w 91"/>
              <a:gd name="T97" fmla="*/ 148 h 360"/>
              <a:gd name="T98" fmla="*/ 91 w 91"/>
              <a:gd name="T99" fmla="*/ 148 h 360"/>
              <a:gd name="T100" fmla="*/ 91 w 91"/>
              <a:gd name="T101" fmla="*/ 147 h 360"/>
              <a:gd name="T102" fmla="*/ 91 w 91"/>
              <a:gd name="T103" fmla="*/ 148 h 360"/>
              <a:gd name="T104" fmla="*/ 91 w 91"/>
              <a:gd name="T105" fmla="*/ 147 h 360"/>
              <a:gd name="T106" fmla="*/ 91 w 91"/>
              <a:gd name="T107" fmla="*/ 147 h 360"/>
              <a:gd name="T108" fmla="*/ 91 w 91"/>
              <a:gd name="T109" fmla="*/ 147 h 360"/>
              <a:gd name="T110" fmla="*/ 91 w 91"/>
              <a:gd name="T111" fmla="*/ 147 h 360"/>
              <a:gd name="T112" fmla="*/ 91 w 91"/>
              <a:gd name="T113" fmla="*/ 146 h 360"/>
              <a:gd name="T114" fmla="*/ 91 w 91"/>
              <a:gd name="T115" fmla="*/ 147 h 360"/>
              <a:gd name="T116" fmla="*/ 91 w 91"/>
              <a:gd name="T117" fmla="*/ 146 h 360"/>
              <a:gd name="T118" fmla="*/ 46 w 91"/>
              <a:gd name="T119" fmla="*/ 0 h 360"/>
              <a:gd name="T120" fmla="*/ 46 w 91"/>
              <a:gd name="T121" fmla="*/ 0 h 360"/>
              <a:gd name="T122" fmla="*/ 91 w 91"/>
              <a:gd name="T123" fmla="*/ 146 h 360"/>
              <a:gd name="T124" fmla="*/ 46 w 91"/>
              <a:gd name="T125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" h="360">
                <a:moveTo>
                  <a:pt x="91" y="153"/>
                </a:moveTo>
                <a:cubicBezTo>
                  <a:pt x="91" y="235"/>
                  <a:pt x="56" y="309"/>
                  <a:pt x="0" y="360"/>
                </a:cubicBezTo>
                <a:cubicBezTo>
                  <a:pt x="0" y="360"/>
                  <a:pt x="0" y="360"/>
                  <a:pt x="0" y="360"/>
                </a:cubicBezTo>
                <a:cubicBezTo>
                  <a:pt x="56" y="309"/>
                  <a:pt x="91" y="235"/>
                  <a:pt x="91" y="153"/>
                </a:cubicBezTo>
                <a:cubicBezTo>
                  <a:pt x="91" y="153"/>
                  <a:pt x="91" y="153"/>
                  <a:pt x="91" y="153"/>
                </a:cubicBezTo>
                <a:moveTo>
                  <a:pt x="91" y="153"/>
                </a:moveTo>
                <a:cubicBezTo>
                  <a:pt x="91" y="153"/>
                  <a:pt x="91" y="153"/>
                  <a:pt x="91" y="153"/>
                </a:cubicBezTo>
                <a:cubicBezTo>
                  <a:pt x="91" y="153"/>
                  <a:pt x="91" y="153"/>
                  <a:pt x="91" y="153"/>
                </a:cubicBezTo>
                <a:moveTo>
                  <a:pt x="91" y="152"/>
                </a:moveTo>
                <a:cubicBezTo>
                  <a:pt x="91" y="152"/>
                  <a:pt x="91" y="152"/>
                  <a:pt x="91" y="153"/>
                </a:cubicBezTo>
                <a:cubicBezTo>
                  <a:pt x="91" y="152"/>
                  <a:pt x="91" y="152"/>
                  <a:pt x="91" y="152"/>
                </a:cubicBezTo>
                <a:moveTo>
                  <a:pt x="91" y="152"/>
                </a:moveTo>
                <a:cubicBezTo>
                  <a:pt x="91" y="152"/>
                  <a:pt x="91" y="152"/>
                  <a:pt x="91" y="152"/>
                </a:cubicBezTo>
                <a:cubicBezTo>
                  <a:pt x="91" y="152"/>
                  <a:pt x="91" y="152"/>
                  <a:pt x="91" y="152"/>
                </a:cubicBezTo>
                <a:moveTo>
                  <a:pt x="91" y="152"/>
                </a:moveTo>
                <a:cubicBezTo>
                  <a:pt x="91" y="152"/>
                  <a:pt x="91" y="152"/>
                  <a:pt x="91" y="152"/>
                </a:cubicBezTo>
                <a:cubicBezTo>
                  <a:pt x="91" y="152"/>
                  <a:pt x="91" y="152"/>
                  <a:pt x="91" y="152"/>
                </a:cubicBezTo>
                <a:moveTo>
                  <a:pt x="91" y="151"/>
                </a:moveTo>
                <a:cubicBezTo>
                  <a:pt x="91" y="151"/>
                  <a:pt x="91" y="152"/>
                  <a:pt x="91" y="152"/>
                </a:cubicBezTo>
                <a:cubicBezTo>
                  <a:pt x="91" y="152"/>
                  <a:pt x="91" y="151"/>
                  <a:pt x="91" y="151"/>
                </a:cubicBezTo>
                <a:moveTo>
                  <a:pt x="91" y="151"/>
                </a:moveTo>
                <a:cubicBezTo>
                  <a:pt x="91" y="151"/>
                  <a:pt x="91" y="151"/>
                  <a:pt x="91" y="151"/>
                </a:cubicBezTo>
                <a:cubicBezTo>
                  <a:pt x="91" y="151"/>
                  <a:pt x="91" y="151"/>
                  <a:pt x="91" y="151"/>
                </a:cubicBezTo>
                <a:moveTo>
                  <a:pt x="91" y="151"/>
                </a:moveTo>
                <a:cubicBezTo>
                  <a:pt x="91" y="151"/>
                  <a:pt x="91" y="151"/>
                  <a:pt x="91" y="151"/>
                </a:cubicBezTo>
                <a:cubicBezTo>
                  <a:pt x="91" y="151"/>
                  <a:pt x="91" y="151"/>
                  <a:pt x="91" y="151"/>
                </a:cubicBezTo>
                <a:moveTo>
                  <a:pt x="91" y="150"/>
                </a:moveTo>
                <a:cubicBezTo>
                  <a:pt x="91" y="150"/>
                  <a:pt x="91" y="151"/>
                  <a:pt x="91" y="151"/>
                </a:cubicBezTo>
                <a:cubicBezTo>
                  <a:pt x="91" y="151"/>
                  <a:pt x="91" y="150"/>
                  <a:pt x="91" y="150"/>
                </a:cubicBezTo>
                <a:moveTo>
                  <a:pt x="91" y="150"/>
                </a:moveTo>
                <a:cubicBezTo>
                  <a:pt x="91" y="150"/>
                  <a:pt x="91" y="150"/>
                  <a:pt x="91" y="150"/>
                </a:cubicBezTo>
                <a:cubicBezTo>
                  <a:pt x="91" y="150"/>
                  <a:pt x="91" y="150"/>
                  <a:pt x="91" y="150"/>
                </a:cubicBezTo>
                <a:moveTo>
                  <a:pt x="91" y="150"/>
                </a:moveTo>
                <a:cubicBezTo>
                  <a:pt x="91" y="150"/>
                  <a:pt x="91" y="150"/>
                  <a:pt x="91" y="150"/>
                </a:cubicBezTo>
                <a:cubicBezTo>
                  <a:pt x="91" y="150"/>
                  <a:pt x="91" y="150"/>
                  <a:pt x="91" y="150"/>
                </a:cubicBezTo>
                <a:moveTo>
                  <a:pt x="91" y="149"/>
                </a:moveTo>
                <a:cubicBezTo>
                  <a:pt x="91" y="149"/>
                  <a:pt x="91" y="150"/>
                  <a:pt x="91" y="150"/>
                </a:cubicBezTo>
                <a:cubicBezTo>
                  <a:pt x="91" y="150"/>
                  <a:pt x="91" y="149"/>
                  <a:pt x="91" y="149"/>
                </a:cubicBezTo>
                <a:moveTo>
                  <a:pt x="91" y="149"/>
                </a:moveTo>
                <a:cubicBezTo>
                  <a:pt x="91" y="149"/>
                  <a:pt x="91" y="149"/>
                  <a:pt x="91" y="149"/>
                </a:cubicBezTo>
                <a:cubicBezTo>
                  <a:pt x="91" y="149"/>
                  <a:pt x="91" y="149"/>
                  <a:pt x="91" y="149"/>
                </a:cubicBezTo>
                <a:moveTo>
                  <a:pt x="91" y="149"/>
                </a:moveTo>
                <a:cubicBezTo>
                  <a:pt x="91" y="149"/>
                  <a:pt x="91" y="149"/>
                  <a:pt x="91" y="149"/>
                </a:cubicBezTo>
                <a:cubicBezTo>
                  <a:pt x="91" y="149"/>
                  <a:pt x="91" y="149"/>
                  <a:pt x="91" y="149"/>
                </a:cubicBezTo>
                <a:moveTo>
                  <a:pt x="91" y="148"/>
                </a:moveTo>
                <a:cubicBezTo>
                  <a:pt x="91" y="148"/>
                  <a:pt x="91" y="149"/>
                  <a:pt x="91" y="149"/>
                </a:cubicBezTo>
                <a:cubicBezTo>
                  <a:pt x="91" y="149"/>
                  <a:pt x="91" y="148"/>
                  <a:pt x="91" y="148"/>
                </a:cubicBezTo>
                <a:moveTo>
                  <a:pt x="91" y="148"/>
                </a:moveTo>
                <a:cubicBezTo>
                  <a:pt x="91" y="148"/>
                  <a:pt x="91" y="148"/>
                  <a:pt x="91" y="148"/>
                </a:cubicBezTo>
                <a:cubicBezTo>
                  <a:pt x="91" y="148"/>
                  <a:pt x="91" y="148"/>
                  <a:pt x="91" y="148"/>
                </a:cubicBezTo>
                <a:moveTo>
                  <a:pt x="91" y="147"/>
                </a:moveTo>
                <a:cubicBezTo>
                  <a:pt x="91" y="148"/>
                  <a:pt x="91" y="148"/>
                  <a:pt x="91" y="148"/>
                </a:cubicBezTo>
                <a:cubicBezTo>
                  <a:pt x="91" y="148"/>
                  <a:pt x="91" y="148"/>
                  <a:pt x="91" y="147"/>
                </a:cubicBezTo>
                <a:moveTo>
                  <a:pt x="91" y="147"/>
                </a:moveTo>
                <a:cubicBezTo>
                  <a:pt x="91" y="147"/>
                  <a:pt x="91" y="147"/>
                  <a:pt x="91" y="147"/>
                </a:cubicBezTo>
                <a:cubicBezTo>
                  <a:pt x="91" y="147"/>
                  <a:pt x="91" y="147"/>
                  <a:pt x="91" y="147"/>
                </a:cubicBezTo>
                <a:moveTo>
                  <a:pt x="91" y="146"/>
                </a:moveTo>
                <a:cubicBezTo>
                  <a:pt x="91" y="147"/>
                  <a:pt x="91" y="147"/>
                  <a:pt x="91" y="147"/>
                </a:cubicBezTo>
                <a:cubicBezTo>
                  <a:pt x="91" y="147"/>
                  <a:pt x="91" y="147"/>
                  <a:pt x="91" y="146"/>
                </a:cubicBezTo>
                <a:moveTo>
                  <a:pt x="46" y="0"/>
                </a:moveTo>
                <a:cubicBezTo>
                  <a:pt x="46" y="0"/>
                  <a:pt x="46" y="0"/>
                  <a:pt x="46" y="0"/>
                </a:cubicBezTo>
                <a:cubicBezTo>
                  <a:pt x="74" y="42"/>
                  <a:pt x="90" y="92"/>
                  <a:pt x="91" y="146"/>
                </a:cubicBezTo>
                <a:cubicBezTo>
                  <a:pt x="90" y="92"/>
                  <a:pt x="74" y="42"/>
                  <a:pt x="46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6" name="Freeform 29">
            <a:extLst>
              <a:ext uri="{FF2B5EF4-FFF2-40B4-BE49-F238E27FC236}">
                <a16:creationId xmlns:a16="http://schemas.microsoft.com/office/drawing/2014/main" id="{C7A09EF1-F291-4944-B35E-CE0A808838CB}"/>
              </a:ext>
            </a:extLst>
          </p:cNvPr>
          <p:cNvSpPr>
            <a:spLocks noEditPoints="1"/>
          </p:cNvSpPr>
          <p:nvPr/>
        </p:nvSpPr>
        <p:spPr bwMode="auto">
          <a:xfrm>
            <a:off x="7134157" y="3384550"/>
            <a:ext cx="314325" cy="1431925"/>
          </a:xfrm>
          <a:custGeom>
            <a:avLst/>
            <a:gdLst>
              <a:gd name="T0" fmla="*/ 0 w 91"/>
              <a:gd name="T1" fmla="*/ 415 h 415"/>
              <a:gd name="T2" fmla="*/ 91 w 91"/>
              <a:gd name="T3" fmla="*/ 207 h 415"/>
              <a:gd name="T4" fmla="*/ 91 w 91"/>
              <a:gd name="T5" fmla="*/ 207 h 415"/>
              <a:gd name="T6" fmla="*/ 91 w 91"/>
              <a:gd name="T7" fmla="*/ 207 h 415"/>
              <a:gd name="T8" fmla="*/ 91 w 91"/>
              <a:gd name="T9" fmla="*/ 207 h 415"/>
              <a:gd name="T10" fmla="*/ 91 w 91"/>
              <a:gd name="T11" fmla="*/ 206 h 415"/>
              <a:gd name="T12" fmla="*/ 91 w 91"/>
              <a:gd name="T13" fmla="*/ 206 h 415"/>
              <a:gd name="T14" fmla="*/ 91 w 91"/>
              <a:gd name="T15" fmla="*/ 206 h 415"/>
              <a:gd name="T16" fmla="*/ 91 w 91"/>
              <a:gd name="T17" fmla="*/ 206 h 415"/>
              <a:gd name="T18" fmla="*/ 91 w 91"/>
              <a:gd name="T19" fmla="*/ 206 h 415"/>
              <a:gd name="T20" fmla="*/ 91 w 91"/>
              <a:gd name="T21" fmla="*/ 206 h 415"/>
              <a:gd name="T22" fmla="*/ 91 w 91"/>
              <a:gd name="T23" fmla="*/ 205 h 415"/>
              <a:gd name="T24" fmla="*/ 91 w 91"/>
              <a:gd name="T25" fmla="*/ 205 h 415"/>
              <a:gd name="T26" fmla="*/ 91 w 91"/>
              <a:gd name="T27" fmla="*/ 205 h 415"/>
              <a:gd name="T28" fmla="*/ 91 w 91"/>
              <a:gd name="T29" fmla="*/ 205 h 415"/>
              <a:gd name="T30" fmla="*/ 91 w 91"/>
              <a:gd name="T31" fmla="*/ 205 h 415"/>
              <a:gd name="T32" fmla="*/ 91 w 91"/>
              <a:gd name="T33" fmla="*/ 204 h 415"/>
              <a:gd name="T34" fmla="*/ 91 w 91"/>
              <a:gd name="T35" fmla="*/ 204 h 415"/>
              <a:gd name="T36" fmla="*/ 91 w 91"/>
              <a:gd name="T37" fmla="*/ 204 h 415"/>
              <a:gd name="T38" fmla="*/ 91 w 91"/>
              <a:gd name="T39" fmla="*/ 204 h 415"/>
              <a:gd name="T40" fmla="*/ 91 w 91"/>
              <a:gd name="T41" fmla="*/ 203 h 415"/>
              <a:gd name="T42" fmla="*/ 91 w 91"/>
              <a:gd name="T43" fmla="*/ 203 h 415"/>
              <a:gd name="T44" fmla="*/ 91 w 91"/>
              <a:gd name="T45" fmla="*/ 203 h 415"/>
              <a:gd name="T46" fmla="*/ 91 w 91"/>
              <a:gd name="T47" fmla="*/ 203 h 415"/>
              <a:gd name="T48" fmla="*/ 91 w 91"/>
              <a:gd name="T49" fmla="*/ 203 h 415"/>
              <a:gd name="T50" fmla="*/ 91 w 91"/>
              <a:gd name="T51" fmla="*/ 202 h 415"/>
              <a:gd name="T52" fmla="*/ 91 w 91"/>
              <a:gd name="T53" fmla="*/ 202 h 415"/>
              <a:gd name="T54" fmla="*/ 91 w 91"/>
              <a:gd name="T55" fmla="*/ 202 h 415"/>
              <a:gd name="T56" fmla="*/ 91 w 91"/>
              <a:gd name="T57" fmla="*/ 202 h 415"/>
              <a:gd name="T58" fmla="*/ 91 w 91"/>
              <a:gd name="T59" fmla="*/ 200 h 415"/>
              <a:gd name="T60" fmla="*/ 91 w 91"/>
              <a:gd name="T61" fmla="*/ 200 h 415"/>
              <a:gd name="T62" fmla="*/ 46 w 91"/>
              <a:gd name="T63" fmla="*/ 55 h 415"/>
              <a:gd name="T64" fmla="*/ 46 w 91"/>
              <a:gd name="T65" fmla="*/ 55 h 415"/>
              <a:gd name="T66" fmla="*/ 33 w 91"/>
              <a:gd name="T67" fmla="*/ 37 h 415"/>
              <a:gd name="T68" fmla="*/ 0 w 91"/>
              <a:gd name="T69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1" h="415">
                <a:moveTo>
                  <a:pt x="91" y="207"/>
                </a:moveTo>
                <a:cubicBezTo>
                  <a:pt x="91" y="290"/>
                  <a:pt x="56" y="364"/>
                  <a:pt x="0" y="415"/>
                </a:cubicBezTo>
                <a:cubicBezTo>
                  <a:pt x="0" y="415"/>
                  <a:pt x="0" y="415"/>
                  <a:pt x="0" y="415"/>
                </a:cubicBezTo>
                <a:cubicBezTo>
                  <a:pt x="56" y="364"/>
                  <a:pt x="91" y="290"/>
                  <a:pt x="91" y="207"/>
                </a:cubicBezTo>
                <a:cubicBezTo>
                  <a:pt x="91" y="207"/>
                  <a:pt x="91" y="207"/>
                  <a:pt x="91" y="207"/>
                </a:cubicBezTo>
                <a:moveTo>
                  <a:pt x="91" y="207"/>
                </a:moveTo>
                <a:cubicBezTo>
                  <a:pt x="91" y="207"/>
                  <a:pt x="91" y="207"/>
                  <a:pt x="91" y="207"/>
                </a:cubicBezTo>
                <a:cubicBezTo>
                  <a:pt x="91" y="207"/>
                  <a:pt x="91" y="207"/>
                  <a:pt x="91" y="207"/>
                </a:cubicBezTo>
                <a:moveTo>
                  <a:pt x="91" y="207"/>
                </a:moveTo>
                <a:cubicBezTo>
                  <a:pt x="91" y="207"/>
                  <a:pt x="91" y="207"/>
                  <a:pt x="91" y="207"/>
                </a:cubicBezTo>
                <a:cubicBezTo>
                  <a:pt x="91" y="207"/>
                  <a:pt x="91" y="207"/>
                  <a:pt x="91" y="207"/>
                </a:cubicBezTo>
                <a:moveTo>
                  <a:pt x="91" y="206"/>
                </a:moveTo>
                <a:cubicBezTo>
                  <a:pt x="91" y="207"/>
                  <a:pt x="91" y="207"/>
                  <a:pt x="91" y="207"/>
                </a:cubicBezTo>
                <a:cubicBezTo>
                  <a:pt x="91" y="207"/>
                  <a:pt x="91" y="207"/>
                  <a:pt x="91" y="206"/>
                </a:cubicBezTo>
                <a:moveTo>
                  <a:pt x="91" y="206"/>
                </a:moveTo>
                <a:cubicBezTo>
                  <a:pt x="91" y="206"/>
                  <a:pt x="91" y="206"/>
                  <a:pt x="91" y="206"/>
                </a:cubicBezTo>
                <a:cubicBezTo>
                  <a:pt x="91" y="206"/>
                  <a:pt x="91" y="206"/>
                  <a:pt x="91" y="206"/>
                </a:cubicBezTo>
                <a:moveTo>
                  <a:pt x="91" y="206"/>
                </a:moveTo>
                <a:cubicBezTo>
                  <a:pt x="91" y="206"/>
                  <a:pt x="91" y="206"/>
                  <a:pt x="91" y="206"/>
                </a:cubicBezTo>
                <a:cubicBezTo>
                  <a:pt x="91" y="206"/>
                  <a:pt x="91" y="206"/>
                  <a:pt x="91" y="206"/>
                </a:cubicBezTo>
                <a:moveTo>
                  <a:pt x="91" y="206"/>
                </a:moveTo>
                <a:cubicBezTo>
                  <a:pt x="91" y="206"/>
                  <a:pt x="91" y="206"/>
                  <a:pt x="91" y="206"/>
                </a:cubicBezTo>
                <a:cubicBezTo>
                  <a:pt x="91" y="206"/>
                  <a:pt x="91" y="206"/>
                  <a:pt x="91" y="206"/>
                </a:cubicBezTo>
                <a:moveTo>
                  <a:pt x="91" y="205"/>
                </a:moveTo>
                <a:cubicBezTo>
                  <a:pt x="91" y="205"/>
                  <a:pt x="91" y="205"/>
                  <a:pt x="91" y="205"/>
                </a:cubicBezTo>
                <a:cubicBezTo>
                  <a:pt x="91" y="205"/>
                  <a:pt x="91" y="205"/>
                  <a:pt x="91" y="205"/>
                </a:cubicBezTo>
                <a:moveTo>
                  <a:pt x="91" y="205"/>
                </a:moveTo>
                <a:cubicBezTo>
                  <a:pt x="91" y="205"/>
                  <a:pt x="91" y="205"/>
                  <a:pt x="91" y="205"/>
                </a:cubicBezTo>
                <a:cubicBezTo>
                  <a:pt x="91" y="205"/>
                  <a:pt x="91" y="205"/>
                  <a:pt x="91" y="205"/>
                </a:cubicBezTo>
                <a:moveTo>
                  <a:pt x="91" y="205"/>
                </a:moveTo>
                <a:cubicBezTo>
                  <a:pt x="91" y="205"/>
                  <a:pt x="91" y="205"/>
                  <a:pt x="91" y="205"/>
                </a:cubicBezTo>
                <a:cubicBezTo>
                  <a:pt x="91" y="205"/>
                  <a:pt x="91" y="205"/>
                  <a:pt x="91" y="205"/>
                </a:cubicBezTo>
                <a:moveTo>
                  <a:pt x="91" y="204"/>
                </a:moveTo>
                <a:cubicBezTo>
                  <a:pt x="91" y="204"/>
                  <a:pt x="91" y="204"/>
                  <a:pt x="91" y="204"/>
                </a:cubicBezTo>
                <a:cubicBezTo>
                  <a:pt x="91" y="204"/>
                  <a:pt x="91" y="204"/>
                  <a:pt x="91" y="204"/>
                </a:cubicBezTo>
                <a:moveTo>
                  <a:pt x="91" y="204"/>
                </a:moveTo>
                <a:cubicBezTo>
                  <a:pt x="91" y="204"/>
                  <a:pt x="91" y="204"/>
                  <a:pt x="91" y="204"/>
                </a:cubicBezTo>
                <a:cubicBezTo>
                  <a:pt x="91" y="204"/>
                  <a:pt x="91" y="204"/>
                  <a:pt x="91" y="204"/>
                </a:cubicBezTo>
                <a:moveTo>
                  <a:pt x="91" y="204"/>
                </a:moveTo>
                <a:cubicBezTo>
                  <a:pt x="91" y="204"/>
                  <a:pt x="91" y="204"/>
                  <a:pt x="91" y="204"/>
                </a:cubicBezTo>
                <a:cubicBezTo>
                  <a:pt x="91" y="204"/>
                  <a:pt x="91" y="204"/>
                  <a:pt x="91" y="204"/>
                </a:cubicBezTo>
                <a:moveTo>
                  <a:pt x="91" y="203"/>
                </a:moveTo>
                <a:cubicBezTo>
                  <a:pt x="91" y="203"/>
                  <a:pt x="91" y="203"/>
                  <a:pt x="91" y="203"/>
                </a:cubicBezTo>
                <a:cubicBezTo>
                  <a:pt x="91" y="203"/>
                  <a:pt x="91" y="203"/>
                  <a:pt x="91" y="203"/>
                </a:cubicBezTo>
                <a:moveTo>
                  <a:pt x="91" y="203"/>
                </a:moveTo>
                <a:cubicBezTo>
                  <a:pt x="91" y="203"/>
                  <a:pt x="91" y="203"/>
                  <a:pt x="91" y="203"/>
                </a:cubicBezTo>
                <a:cubicBezTo>
                  <a:pt x="91" y="203"/>
                  <a:pt x="91" y="203"/>
                  <a:pt x="91" y="203"/>
                </a:cubicBezTo>
                <a:moveTo>
                  <a:pt x="91" y="203"/>
                </a:moveTo>
                <a:cubicBezTo>
                  <a:pt x="91" y="203"/>
                  <a:pt x="91" y="203"/>
                  <a:pt x="91" y="203"/>
                </a:cubicBezTo>
                <a:cubicBezTo>
                  <a:pt x="91" y="203"/>
                  <a:pt x="91" y="203"/>
                  <a:pt x="91" y="203"/>
                </a:cubicBezTo>
                <a:moveTo>
                  <a:pt x="91" y="202"/>
                </a:moveTo>
                <a:cubicBezTo>
                  <a:pt x="91" y="202"/>
                  <a:pt x="91" y="202"/>
                  <a:pt x="91" y="202"/>
                </a:cubicBezTo>
                <a:cubicBezTo>
                  <a:pt x="91" y="202"/>
                  <a:pt x="91" y="202"/>
                  <a:pt x="91" y="202"/>
                </a:cubicBezTo>
                <a:moveTo>
                  <a:pt x="91" y="202"/>
                </a:moveTo>
                <a:cubicBezTo>
                  <a:pt x="91" y="202"/>
                  <a:pt x="91" y="202"/>
                  <a:pt x="91" y="202"/>
                </a:cubicBezTo>
                <a:cubicBezTo>
                  <a:pt x="91" y="202"/>
                  <a:pt x="91" y="202"/>
                  <a:pt x="91" y="202"/>
                </a:cubicBezTo>
                <a:moveTo>
                  <a:pt x="91" y="201"/>
                </a:moveTo>
                <a:cubicBezTo>
                  <a:pt x="91" y="201"/>
                  <a:pt x="91" y="201"/>
                  <a:pt x="91" y="202"/>
                </a:cubicBezTo>
                <a:cubicBezTo>
                  <a:pt x="91" y="201"/>
                  <a:pt x="91" y="201"/>
                  <a:pt x="91" y="201"/>
                </a:cubicBezTo>
                <a:moveTo>
                  <a:pt x="91" y="200"/>
                </a:moveTo>
                <a:cubicBezTo>
                  <a:pt x="91" y="200"/>
                  <a:pt x="91" y="201"/>
                  <a:pt x="91" y="201"/>
                </a:cubicBezTo>
                <a:cubicBezTo>
                  <a:pt x="91" y="201"/>
                  <a:pt x="91" y="200"/>
                  <a:pt x="91" y="200"/>
                </a:cubicBezTo>
                <a:moveTo>
                  <a:pt x="46" y="55"/>
                </a:moveTo>
                <a:cubicBezTo>
                  <a:pt x="46" y="55"/>
                  <a:pt x="46" y="55"/>
                  <a:pt x="46" y="55"/>
                </a:cubicBezTo>
                <a:cubicBezTo>
                  <a:pt x="73" y="97"/>
                  <a:pt x="90" y="146"/>
                  <a:pt x="91" y="200"/>
                </a:cubicBezTo>
                <a:cubicBezTo>
                  <a:pt x="90" y="146"/>
                  <a:pt x="73" y="97"/>
                  <a:pt x="46" y="55"/>
                </a:cubicBezTo>
                <a:moveTo>
                  <a:pt x="0" y="0"/>
                </a:moveTo>
                <a:cubicBezTo>
                  <a:pt x="12" y="11"/>
                  <a:pt x="23" y="23"/>
                  <a:pt x="33" y="37"/>
                </a:cubicBezTo>
                <a:cubicBezTo>
                  <a:pt x="33" y="37"/>
                  <a:pt x="33" y="37"/>
                  <a:pt x="33" y="37"/>
                </a:cubicBezTo>
                <a:cubicBezTo>
                  <a:pt x="23" y="23"/>
                  <a:pt x="12" y="11"/>
                  <a:pt x="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7" name="Freeform 30">
            <a:extLst>
              <a:ext uri="{FF2B5EF4-FFF2-40B4-BE49-F238E27FC236}">
                <a16:creationId xmlns:a16="http://schemas.microsoft.com/office/drawing/2014/main" id="{CCC90CD5-E0A0-4275-8FCE-7615AD9EC369}"/>
              </a:ext>
            </a:extLst>
          </p:cNvPr>
          <p:cNvSpPr>
            <a:spLocks noEditPoints="1"/>
          </p:cNvSpPr>
          <p:nvPr/>
        </p:nvSpPr>
        <p:spPr bwMode="auto">
          <a:xfrm>
            <a:off x="5891144" y="4816475"/>
            <a:ext cx="1557338" cy="1682750"/>
          </a:xfrm>
          <a:custGeom>
            <a:avLst/>
            <a:gdLst>
              <a:gd name="T0" fmla="*/ 171 w 451"/>
              <a:gd name="T1" fmla="*/ 487 h 487"/>
              <a:gd name="T2" fmla="*/ 170 w 451"/>
              <a:gd name="T3" fmla="*/ 487 h 487"/>
              <a:gd name="T4" fmla="*/ 170 w 451"/>
              <a:gd name="T5" fmla="*/ 487 h 487"/>
              <a:gd name="T6" fmla="*/ 170 w 451"/>
              <a:gd name="T7" fmla="*/ 487 h 487"/>
              <a:gd name="T8" fmla="*/ 169 w 451"/>
              <a:gd name="T9" fmla="*/ 487 h 487"/>
              <a:gd name="T10" fmla="*/ 169 w 451"/>
              <a:gd name="T11" fmla="*/ 487 h 487"/>
              <a:gd name="T12" fmla="*/ 169 w 451"/>
              <a:gd name="T13" fmla="*/ 487 h 487"/>
              <a:gd name="T14" fmla="*/ 168 w 451"/>
              <a:gd name="T15" fmla="*/ 487 h 487"/>
              <a:gd name="T16" fmla="*/ 168 w 451"/>
              <a:gd name="T17" fmla="*/ 487 h 487"/>
              <a:gd name="T18" fmla="*/ 168 w 451"/>
              <a:gd name="T19" fmla="*/ 487 h 487"/>
              <a:gd name="T20" fmla="*/ 0 w 451"/>
              <a:gd name="T21" fmla="*/ 429 h 487"/>
              <a:gd name="T22" fmla="*/ 167 w 451"/>
              <a:gd name="T23" fmla="*/ 487 h 487"/>
              <a:gd name="T24" fmla="*/ 451 w 451"/>
              <a:gd name="T25" fmla="*/ 207 h 487"/>
              <a:gd name="T26" fmla="*/ 171 w 451"/>
              <a:gd name="T27" fmla="*/ 487 h 487"/>
              <a:gd name="T28" fmla="*/ 451 w 451"/>
              <a:gd name="T29" fmla="*/ 207 h 487"/>
              <a:gd name="T30" fmla="*/ 451 w 451"/>
              <a:gd name="T31" fmla="*/ 207 h 487"/>
              <a:gd name="T32" fmla="*/ 451 w 451"/>
              <a:gd name="T33" fmla="*/ 207 h 487"/>
              <a:gd name="T34" fmla="*/ 451 w 451"/>
              <a:gd name="T35" fmla="*/ 207 h 487"/>
              <a:gd name="T36" fmla="*/ 451 w 451"/>
              <a:gd name="T37" fmla="*/ 206 h 487"/>
              <a:gd name="T38" fmla="*/ 451 w 451"/>
              <a:gd name="T39" fmla="*/ 206 h 487"/>
              <a:gd name="T40" fmla="*/ 451 w 451"/>
              <a:gd name="T41" fmla="*/ 206 h 487"/>
              <a:gd name="T42" fmla="*/ 451 w 451"/>
              <a:gd name="T43" fmla="*/ 205 h 487"/>
              <a:gd name="T44" fmla="*/ 451 w 451"/>
              <a:gd name="T45" fmla="*/ 205 h 487"/>
              <a:gd name="T46" fmla="*/ 451 w 451"/>
              <a:gd name="T47" fmla="*/ 205 h 487"/>
              <a:gd name="T48" fmla="*/ 451 w 451"/>
              <a:gd name="T49" fmla="*/ 205 h 487"/>
              <a:gd name="T50" fmla="*/ 451 w 451"/>
              <a:gd name="T51" fmla="*/ 205 h 487"/>
              <a:gd name="T52" fmla="*/ 451 w 451"/>
              <a:gd name="T53" fmla="*/ 205 h 487"/>
              <a:gd name="T54" fmla="*/ 451 w 451"/>
              <a:gd name="T55" fmla="*/ 204 h 487"/>
              <a:gd name="T56" fmla="*/ 451 w 451"/>
              <a:gd name="T57" fmla="*/ 204 h 487"/>
              <a:gd name="T58" fmla="*/ 451 w 451"/>
              <a:gd name="T59" fmla="*/ 204 h 487"/>
              <a:gd name="T60" fmla="*/ 451 w 451"/>
              <a:gd name="T61" fmla="*/ 203 h 487"/>
              <a:gd name="T62" fmla="*/ 451 w 451"/>
              <a:gd name="T63" fmla="*/ 203 h 487"/>
              <a:gd name="T64" fmla="*/ 451 w 451"/>
              <a:gd name="T65" fmla="*/ 203 h 487"/>
              <a:gd name="T66" fmla="*/ 451 w 451"/>
              <a:gd name="T67" fmla="*/ 203 h 487"/>
              <a:gd name="T68" fmla="*/ 451 w 451"/>
              <a:gd name="T69" fmla="*/ 203 h 487"/>
              <a:gd name="T70" fmla="*/ 451 w 451"/>
              <a:gd name="T71" fmla="*/ 203 h 487"/>
              <a:gd name="T72" fmla="*/ 451 w 451"/>
              <a:gd name="T73" fmla="*/ 202 h 487"/>
              <a:gd name="T74" fmla="*/ 451 w 451"/>
              <a:gd name="T75" fmla="*/ 202 h 487"/>
              <a:gd name="T76" fmla="*/ 451 w 451"/>
              <a:gd name="T77" fmla="*/ 202 h 487"/>
              <a:gd name="T78" fmla="*/ 451 w 451"/>
              <a:gd name="T79" fmla="*/ 201 h 487"/>
              <a:gd name="T80" fmla="*/ 451 w 451"/>
              <a:gd name="T81" fmla="*/ 201 h 487"/>
              <a:gd name="T82" fmla="*/ 406 w 451"/>
              <a:gd name="T83" fmla="*/ 54 h 487"/>
              <a:gd name="T84" fmla="*/ 406 w 451"/>
              <a:gd name="T85" fmla="*/ 54 h 487"/>
              <a:gd name="T86" fmla="*/ 393 w 451"/>
              <a:gd name="T87" fmla="*/ 36 h 487"/>
              <a:gd name="T88" fmla="*/ 360 w 451"/>
              <a:gd name="T89" fmla="*/ 0 h 487"/>
              <a:gd name="T90" fmla="*/ 360 w 451"/>
              <a:gd name="T91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51" h="487">
                <a:moveTo>
                  <a:pt x="171" y="487"/>
                </a:moveTo>
                <a:cubicBezTo>
                  <a:pt x="171" y="487"/>
                  <a:pt x="171" y="487"/>
                  <a:pt x="171" y="487"/>
                </a:cubicBezTo>
                <a:cubicBezTo>
                  <a:pt x="171" y="487"/>
                  <a:pt x="171" y="487"/>
                  <a:pt x="171" y="487"/>
                </a:cubicBezTo>
                <a:moveTo>
                  <a:pt x="170" y="487"/>
                </a:moveTo>
                <a:cubicBezTo>
                  <a:pt x="170" y="487"/>
                  <a:pt x="170" y="487"/>
                  <a:pt x="171" y="487"/>
                </a:cubicBezTo>
                <a:cubicBezTo>
                  <a:pt x="170" y="487"/>
                  <a:pt x="170" y="487"/>
                  <a:pt x="170" y="487"/>
                </a:cubicBezTo>
                <a:moveTo>
                  <a:pt x="170" y="487"/>
                </a:moveTo>
                <a:cubicBezTo>
                  <a:pt x="170" y="487"/>
                  <a:pt x="170" y="487"/>
                  <a:pt x="170" y="487"/>
                </a:cubicBezTo>
                <a:cubicBezTo>
                  <a:pt x="170" y="487"/>
                  <a:pt x="170" y="487"/>
                  <a:pt x="170" y="487"/>
                </a:cubicBezTo>
                <a:moveTo>
                  <a:pt x="169" y="487"/>
                </a:moveTo>
                <a:cubicBezTo>
                  <a:pt x="169" y="487"/>
                  <a:pt x="169" y="487"/>
                  <a:pt x="169" y="487"/>
                </a:cubicBezTo>
                <a:cubicBezTo>
                  <a:pt x="169" y="487"/>
                  <a:pt x="169" y="487"/>
                  <a:pt x="169" y="487"/>
                </a:cubicBezTo>
                <a:moveTo>
                  <a:pt x="168" y="487"/>
                </a:moveTo>
                <a:cubicBezTo>
                  <a:pt x="169" y="487"/>
                  <a:pt x="169" y="487"/>
                  <a:pt x="169" y="487"/>
                </a:cubicBezTo>
                <a:cubicBezTo>
                  <a:pt x="169" y="487"/>
                  <a:pt x="168" y="487"/>
                  <a:pt x="168" y="487"/>
                </a:cubicBezTo>
                <a:moveTo>
                  <a:pt x="168" y="487"/>
                </a:moveTo>
                <a:cubicBezTo>
                  <a:pt x="168" y="487"/>
                  <a:pt x="168" y="487"/>
                  <a:pt x="168" y="487"/>
                </a:cubicBezTo>
                <a:cubicBezTo>
                  <a:pt x="168" y="487"/>
                  <a:pt x="168" y="487"/>
                  <a:pt x="168" y="487"/>
                </a:cubicBezTo>
                <a:moveTo>
                  <a:pt x="167" y="487"/>
                </a:moveTo>
                <a:cubicBezTo>
                  <a:pt x="167" y="487"/>
                  <a:pt x="167" y="487"/>
                  <a:pt x="168" y="487"/>
                </a:cubicBezTo>
                <a:cubicBezTo>
                  <a:pt x="167" y="487"/>
                  <a:pt x="167" y="487"/>
                  <a:pt x="167" y="487"/>
                </a:cubicBezTo>
                <a:moveTo>
                  <a:pt x="0" y="429"/>
                </a:moveTo>
                <a:cubicBezTo>
                  <a:pt x="0" y="429"/>
                  <a:pt x="0" y="429"/>
                  <a:pt x="0" y="429"/>
                </a:cubicBezTo>
                <a:cubicBezTo>
                  <a:pt x="47" y="464"/>
                  <a:pt x="104" y="486"/>
                  <a:pt x="167" y="487"/>
                </a:cubicBezTo>
                <a:cubicBezTo>
                  <a:pt x="104" y="486"/>
                  <a:pt x="47" y="464"/>
                  <a:pt x="0" y="429"/>
                </a:cubicBezTo>
                <a:moveTo>
                  <a:pt x="451" y="207"/>
                </a:moveTo>
                <a:cubicBezTo>
                  <a:pt x="451" y="362"/>
                  <a:pt x="326" y="487"/>
                  <a:pt x="171" y="487"/>
                </a:cubicBezTo>
                <a:cubicBezTo>
                  <a:pt x="171" y="487"/>
                  <a:pt x="171" y="487"/>
                  <a:pt x="171" y="487"/>
                </a:cubicBezTo>
                <a:cubicBezTo>
                  <a:pt x="171" y="487"/>
                  <a:pt x="171" y="487"/>
                  <a:pt x="171" y="487"/>
                </a:cubicBezTo>
                <a:cubicBezTo>
                  <a:pt x="326" y="487"/>
                  <a:pt x="451" y="362"/>
                  <a:pt x="451" y="207"/>
                </a:cubicBezTo>
                <a:cubicBezTo>
                  <a:pt x="451" y="207"/>
                  <a:pt x="451" y="207"/>
                  <a:pt x="451" y="207"/>
                </a:cubicBezTo>
                <a:moveTo>
                  <a:pt x="451" y="207"/>
                </a:moveTo>
                <a:cubicBezTo>
                  <a:pt x="451" y="207"/>
                  <a:pt x="451" y="207"/>
                  <a:pt x="451" y="207"/>
                </a:cubicBezTo>
                <a:cubicBezTo>
                  <a:pt x="451" y="207"/>
                  <a:pt x="451" y="207"/>
                  <a:pt x="451" y="207"/>
                </a:cubicBezTo>
                <a:moveTo>
                  <a:pt x="451" y="206"/>
                </a:moveTo>
                <a:cubicBezTo>
                  <a:pt x="451" y="206"/>
                  <a:pt x="451" y="207"/>
                  <a:pt x="451" y="207"/>
                </a:cubicBezTo>
                <a:cubicBezTo>
                  <a:pt x="451" y="207"/>
                  <a:pt x="451" y="206"/>
                  <a:pt x="451" y="206"/>
                </a:cubicBezTo>
                <a:moveTo>
                  <a:pt x="451" y="206"/>
                </a:moveTo>
                <a:cubicBezTo>
                  <a:pt x="451" y="206"/>
                  <a:pt x="451" y="206"/>
                  <a:pt x="451" y="206"/>
                </a:cubicBezTo>
                <a:cubicBezTo>
                  <a:pt x="451" y="206"/>
                  <a:pt x="451" y="206"/>
                  <a:pt x="451" y="206"/>
                </a:cubicBezTo>
                <a:moveTo>
                  <a:pt x="451" y="206"/>
                </a:moveTo>
                <a:cubicBezTo>
                  <a:pt x="451" y="206"/>
                  <a:pt x="451" y="206"/>
                  <a:pt x="451" y="206"/>
                </a:cubicBezTo>
                <a:cubicBezTo>
                  <a:pt x="451" y="206"/>
                  <a:pt x="451" y="206"/>
                  <a:pt x="451" y="206"/>
                </a:cubicBezTo>
                <a:moveTo>
                  <a:pt x="451" y="205"/>
                </a:moveTo>
                <a:cubicBezTo>
                  <a:pt x="451" y="205"/>
                  <a:pt x="451" y="206"/>
                  <a:pt x="451" y="206"/>
                </a:cubicBezTo>
                <a:cubicBezTo>
                  <a:pt x="451" y="206"/>
                  <a:pt x="451" y="205"/>
                  <a:pt x="451" y="205"/>
                </a:cubicBezTo>
                <a:moveTo>
                  <a:pt x="451" y="205"/>
                </a:moveTo>
                <a:cubicBezTo>
                  <a:pt x="451" y="205"/>
                  <a:pt x="451" y="205"/>
                  <a:pt x="451" y="205"/>
                </a:cubicBezTo>
                <a:cubicBezTo>
                  <a:pt x="451" y="205"/>
                  <a:pt x="451" y="205"/>
                  <a:pt x="451" y="205"/>
                </a:cubicBezTo>
                <a:moveTo>
                  <a:pt x="451" y="205"/>
                </a:moveTo>
                <a:cubicBezTo>
                  <a:pt x="451" y="205"/>
                  <a:pt x="451" y="205"/>
                  <a:pt x="451" y="205"/>
                </a:cubicBezTo>
                <a:cubicBezTo>
                  <a:pt x="451" y="205"/>
                  <a:pt x="451" y="205"/>
                  <a:pt x="451" y="205"/>
                </a:cubicBezTo>
                <a:moveTo>
                  <a:pt x="451" y="204"/>
                </a:moveTo>
                <a:cubicBezTo>
                  <a:pt x="451" y="204"/>
                  <a:pt x="451" y="205"/>
                  <a:pt x="451" y="205"/>
                </a:cubicBezTo>
                <a:cubicBezTo>
                  <a:pt x="451" y="205"/>
                  <a:pt x="451" y="204"/>
                  <a:pt x="451" y="204"/>
                </a:cubicBezTo>
                <a:moveTo>
                  <a:pt x="451" y="204"/>
                </a:moveTo>
                <a:cubicBezTo>
                  <a:pt x="451" y="204"/>
                  <a:pt x="451" y="204"/>
                  <a:pt x="451" y="204"/>
                </a:cubicBezTo>
                <a:cubicBezTo>
                  <a:pt x="451" y="204"/>
                  <a:pt x="451" y="204"/>
                  <a:pt x="451" y="204"/>
                </a:cubicBezTo>
                <a:moveTo>
                  <a:pt x="451" y="204"/>
                </a:moveTo>
                <a:cubicBezTo>
                  <a:pt x="451" y="204"/>
                  <a:pt x="451" y="204"/>
                  <a:pt x="451" y="204"/>
                </a:cubicBezTo>
                <a:cubicBezTo>
                  <a:pt x="451" y="204"/>
                  <a:pt x="451" y="204"/>
                  <a:pt x="451" y="204"/>
                </a:cubicBezTo>
                <a:moveTo>
                  <a:pt x="451" y="203"/>
                </a:moveTo>
                <a:cubicBezTo>
                  <a:pt x="451" y="203"/>
                  <a:pt x="451" y="204"/>
                  <a:pt x="451" y="204"/>
                </a:cubicBezTo>
                <a:cubicBezTo>
                  <a:pt x="451" y="204"/>
                  <a:pt x="451" y="203"/>
                  <a:pt x="451" y="203"/>
                </a:cubicBezTo>
                <a:moveTo>
                  <a:pt x="451" y="203"/>
                </a:moveTo>
                <a:cubicBezTo>
                  <a:pt x="451" y="203"/>
                  <a:pt x="451" y="203"/>
                  <a:pt x="451" y="203"/>
                </a:cubicBezTo>
                <a:cubicBezTo>
                  <a:pt x="451" y="203"/>
                  <a:pt x="451" y="203"/>
                  <a:pt x="451" y="203"/>
                </a:cubicBezTo>
                <a:moveTo>
                  <a:pt x="451" y="203"/>
                </a:moveTo>
                <a:cubicBezTo>
                  <a:pt x="451" y="203"/>
                  <a:pt x="451" y="203"/>
                  <a:pt x="451" y="203"/>
                </a:cubicBezTo>
                <a:cubicBezTo>
                  <a:pt x="451" y="203"/>
                  <a:pt x="451" y="203"/>
                  <a:pt x="451" y="203"/>
                </a:cubicBezTo>
                <a:moveTo>
                  <a:pt x="451" y="202"/>
                </a:moveTo>
                <a:cubicBezTo>
                  <a:pt x="451" y="202"/>
                  <a:pt x="451" y="203"/>
                  <a:pt x="451" y="203"/>
                </a:cubicBezTo>
                <a:cubicBezTo>
                  <a:pt x="451" y="203"/>
                  <a:pt x="451" y="203"/>
                  <a:pt x="451" y="202"/>
                </a:cubicBezTo>
                <a:moveTo>
                  <a:pt x="451" y="202"/>
                </a:moveTo>
                <a:cubicBezTo>
                  <a:pt x="451" y="202"/>
                  <a:pt x="451" y="202"/>
                  <a:pt x="451" y="202"/>
                </a:cubicBezTo>
                <a:cubicBezTo>
                  <a:pt x="451" y="202"/>
                  <a:pt x="451" y="202"/>
                  <a:pt x="451" y="202"/>
                </a:cubicBezTo>
                <a:moveTo>
                  <a:pt x="451" y="201"/>
                </a:moveTo>
                <a:cubicBezTo>
                  <a:pt x="451" y="202"/>
                  <a:pt x="451" y="202"/>
                  <a:pt x="451" y="202"/>
                </a:cubicBezTo>
                <a:cubicBezTo>
                  <a:pt x="451" y="202"/>
                  <a:pt x="451" y="202"/>
                  <a:pt x="451" y="201"/>
                </a:cubicBezTo>
                <a:moveTo>
                  <a:pt x="451" y="201"/>
                </a:moveTo>
                <a:cubicBezTo>
                  <a:pt x="451" y="201"/>
                  <a:pt x="451" y="201"/>
                  <a:pt x="451" y="201"/>
                </a:cubicBezTo>
                <a:cubicBezTo>
                  <a:pt x="451" y="201"/>
                  <a:pt x="451" y="201"/>
                  <a:pt x="451" y="201"/>
                </a:cubicBezTo>
                <a:moveTo>
                  <a:pt x="406" y="54"/>
                </a:moveTo>
                <a:cubicBezTo>
                  <a:pt x="406" y="54"/>
                  <a:pt x="406" y="54"/>
                  <a:pt x="406" y="54"/>
                </a:cubicBezTo>
                <a:cubicBezTo>
                  <a:pt x="434" y="97"/>
                  <a:pt x="450" y="147"/>
                  <a:pt x="451" y="201"/>
                </a:cubicBezTo>
                <a:cubicBezTo>
                  <a:pt x="450" y="147"/>
                  <a:pt x="434" y="97"/>
                  <a:pt x="406" y="54"/>
                </a:cubicBezTo>
                <a:moveTo>
                  <a:pt x="360" y="0"/>
                </a:moveTo>
                <a:cubicBezTo>
                  <a:pt x="372" y="11"/>
                  <a:pt x="383" y="23"/>
                  <a:pt x="393" y="36"/>
                </a:cubicBezTo>
                <a:cubicBezTo>
                  <a:pt x="393" y="36"/>
                  <a:pt x="393" y="36"/>
                  <a:pt x="393" y="36"/>
                </a:cubicBezTo>
                <a:cubicBezTo>
                  <a:pt x="383" y="23"/>
                  <a:pt x="372" y="11"/>
                  <a:pt x="360" y="0"/>
                </a:cubicBezTo>
                <a:moveTo>
                  <a:pt x="360" y="0"/>
                </a:moveTo>
                <a:cubicBezTo>
                  <a:pt x="360" y="0"/>
                  <a:pt x="360" y="0"/>
                  <a:pt x="360" y="0"/>
                </a:cubicBezTo>
                <a:cubicBezTo>
                  <a:pt x="360" y="0"/>
                  <a:pt x="360" y="0"/>
                  <a:pt x="36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8" name="Oval 31">
            <a:extLst>
              <a:ext uri="{FF2B5EF4-FFF2-40B4-BE49-F238E27FC236}">
                <a16:creationId xmlns:a16="http://schemas.microsoft.com/office/drawing/2014/main" id="{EF6735EE-5BBC-4D32-9E62-9AA986E6B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2494" y="1131888"/>
            <a:ext cx="207963" cy="211138"/>
          </a:xfrm>
          <a:prstGeom prst="ellipse">
            <a:avLst/>
          </a:prstGeom>
          <a:solidFill>
            <a:srgbClr val="EAA7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" name="Freeform 32">
            <a:extLst>
              <a:ext uri="{FF2B5EF4-FFF2-40B4-BE49-F238E27FC236}">
                <a16:creationId xmlns:a16="http://schemas.microsoft.com/office/drawing/2014/main" id="{AECD2E71-C5CD-4269-9B31-D030C09280D3}"/>
              </a:ext>
            </a:extLst>
          </p:cNvPr>
          <p:cNvSpPr>
            <a:spLocks noEditPoints="1"/>
          </p:cNvSpPr>
          <p:nvPr/>
        </p:nvSpPr>
        <p:spPr bwMode="auto">
          <a:xfrm>
            <a:off x="4951344" y="669925"/>
            <a:ext cx="590550" cy="1136650"/>
          </a:xfrm>
          <a:custGeom>
            <a:avLst/>
            <a:gdLst>
              <a:gd name="T0" fmla="*/ 131 w 171"/>
              <a:gd name="T1" fmla="*/ 193 h 329"/>
              <a:gd name="T2" fmla="*/ 120 w 171"/>
              <a:gd name="T3" fmla="*/ 195 h 329"/>
              <a:gd name="T4" fmla="*/ 111 w 171"/>
              <a:gd name="T5" fmla="*/ 193 h 329"/>
              <a:gd name="T6" fmla="*/ 153 w 171"/>
              <a:gd name="T7" fmla="*/ 329 h 329"/>
              <a:gd name="T8" fmla="*/ 171 w 171"/>
              <a:gd name="T9" fmla="*/ 319 h 329"/>
              <a:gd name="T10" fmla="*/ 131 w 171"/>
              <a:gd name="T11" fmla="*/ 193 h 329"/>
              <a:gd name="T12" fmla="*/ 91 w 171"/>
              <a:gd name="T13" fmla="*/ 154 h 329"/>
              <a:gd name="T14" fmla="*/ 0 w 171"/>
              <a:gd name="T15" fmla="*/ 154 h 329"/>
              <a:gd name="T16" fmla="*/ 0 w 171"/>
              <a:gd name="T17" fmla="*/ 174 h 329"/>
              <a:gd name="T18" fmla="*/ 91 w 171"/>
              <a:gd name="T19" fmla="*/ 174 h 329"/>
              <a:gd name="T20" fmla="*/ 90 w 171"/>
              <a:gd name="T21" fmla="*/ 164 h 329"/>
              <a:gd name="T22" fmla="*/ 91 w 171"/>
              <a:gd name="T23" fmla="*/ 154 h 329"/>
              <a:gd name="T24" fmla="*/ 153 w 171"/>
              <a:gd name="T25" fmla="*/ 0 h 329"/>
              <a:gd name="T26" fmla="*/ 111 w 171"/>
              <a:gd name="T27" fmla="*/ 135 h 329"/>
              <a:gd name="T28" fmla="*/ 120 w 171"/>
              <a:gd name="T29" fmla="*/ 134 h 329"/>
              <a:gd name="T30" fmla="*/ 131 w 171"/>
              <a:gd name="T31" fmla="*/ 136 h 329"/>
              <a:gd name="T32" fmla="*/ 171 w 171"/>
              <a:gd name="T33" fmla="*/ 10 h 329"/>
              <a:gd name="T34" fmla="*/ 153 w 171"/>
              <a:gd name="T35" fmla="*/ 0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1" h="329">
                <a:moveTo>
                  <a:pt x="131" y="193"/>
                </a:moveTo>
                <a:cubicBezTo>
                  <a:pt x="128" y="194"/>
                  <a:pt x="124" y="195"/>
                  <a:pt x="120" y="195"/>
                </a:cubicBezTo>
                <a:cubicBezTo>
                  <a:pt x="117" y="195"/>
                  <a:pt x="114" y="194"/>
                  <a:pt x="111" y="193"/>
                </a:cubicBezTo>
                <a:cubicBezTo>
                  <a:pt x="115" y="241"/>
                  <a:pt x="130" y="287"/>
                  <a:pt x="153" y="329"/>
                </a:cubicBezTo>
                <a:cubicBezTo>
                  <a:pt x="171" y="319"/>
                  <a:pt x="171" y="319"/>
                  <a:pt x="171" y="319"/>
                </a:cubicBezTo>
                <a:cubicBezTo>
                  <a:pt x="149" y="280"/>
                  <a:pt x="135" y="237"/>
                  <a:pt x="131" y="193"/>
                </a:cubicBezTo>
                <a:moveTo>
                  <a:pt x="91" y="154"/>
                </a:moveTo>
                <a:cubicBezTo>
                  <a:pt x="0" y="154"/>
                  <a:pt x="0" y="154"/>
                  <a:pt x="0" y="154"/>
                </a:cubicBezTo>
                <a:cubicBezTo>
                  <a:pt x="0" y="174"/>
                  <a:pt x="0" y="174"/>
                  <a:pt x="0" y="174"/>
                </a:cubicBezTo>
                <a:cubicBezTo>
                  <a:pt x="91" y="174"/>
                  <a:pt x="91" y="174"/>
                  <a:pt x="91" y="174"/>
                </a:cubicBezTo>
                <a:cubicBezTo>
                  <a:pt x="90" y="171"/>
                  <a:pt x="90" y="168"/>
                  <a:pt x="90" y="164"/>
                </a:cubicBezTo>
                <a:cubicBezTo>
                  <a:pt x="90" y="161"/>
                  <a:pt x="90" y="158"/>
                  <a:pt x="91" y="154"/>
                </a:cubicBezTo>
                <a:moveTo>
                  <a:pt x="153" y="0"/>
                </a:moveTo>
                <a:cubicBezTo>
                  <a:pt x="130" y="42"/>
                  <a:pt x="115" y="88"/>
                  <a:pt x="111" y="135"/>
                </a:cubicBezTo>
                <a:cubicBezTo>
                  <a:pt x="114" y="135"/>
                  <a:pt x="117" y="134"/>
                  <a:pt x="120" y="134"/>
                </a:cubicBezTo>
                <a:cubicBezTo>
                  <a:pt x="124" y="134"/>
                  <a:pt x="128" y="135"/>
                  <a:pt x="131" y="136"/>
                </a:cubicBezTo>
                <a:cubicBezTo>
                  <a:pt x="135" y="92"/>
                  <a:pt x="149" y="49"/>
                  <a:pt x="171" y="10"/>
                </a:cubicBezTo>
                <a:cubicBezTo>
                  <a:pt x="153" y="0"/>
                  <a:pt x="153" y="0"/>
                  <a:pt x="153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" name="Freeform 33">
            <a:extLst>
              <a:ext uri="{FF2B5EF4-FFF2-40B4-BE49-F238E27FC236}">
                <a16:creationId xmlns:a16="http://schemas.microsoft.com/office/drawing/2014/main" id="{BF5F3140-14B3-434C-AF5C-2EE9A9751CC6}"/>
              </a:ext>
            </a:extLst>
          </p:cNvPr>
          <p:cNvSpPr>
            <a:spLocks/>
          </p:cNvSpPr>
          <p:nvPr/>
        </p:nvSpPr>
        <p:spPr bwMode="auto">
          <a:xfrm>
            <a:off x="5262494" y="1131888"/>
            <a:ext cx="141288" cy="211138"/>
          </a:xfrm>
          <a:custGeom>
            <a:avLst/>
            <a:gdLst>
              <a:gd name="T0" fmla="*/ 30 w 41"/>
              <a:gd name="T1" fmla="*/ 0 h 61"/>
              <a:gd name="T2" fmla="*/ 21 w 41"/>
              <a:gd name="T3" fmla="*/ 1 h 61"/>
              <a:gd name="T4" fmla="*/ 20 w 41"/>
              <a:gd name="T5" fmla="*/ 20 h 61"/>
              <a:gd name="T6" fmla="*/ 1 w 41"/>
              <a:gd name="T7" fmla="*/ 20 h 61"/>
              <a:gd name="T8" fmla="*/ 0 w 41"/>
              <a:gd name="T9" fmla="*/ 30 h 61"/>
              <a:gd name="T10" fmla="*/ 1 w 41"/>
              <a:gd name="T11" fmla="*/ 40 h 61"/>
              <a:gd name="T12" fmla="*/ 20 w 41"/>
              <a:gd name="T13" fmla="*/ 40 h 61"/>
              <a:gd name="T14" fmla="*/ 21 w 41"/>
              <a:gd name="T15" fmla="*/ 59 h 61"/>
              <a:gd name="T16" fmla="*/ 30 w 41"/>
              <a:gd name="T17" fmla="*/ 61 h 61"/>
              <a:gd name="T18" fmla="*/ 41 w 41"/>
              <a:gd name="T19" fmla="*/ 59 h 61"/>
              <a:gd name="T20" fmla="*/ 40 w 41"/>
              <a:gd name="T21" fmla="*/ 30 h 61"/>
              <a:gd name="T22" fmla="*/ 41 w 41"/>
              <a:gd name="T23" fmla="*/ 2 h 61"/>
              <a:gd name="T24" fmla="*/ 30 w 41"/>
              <a:gd name="T2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61">
                <a:moveTo>
                  <a:pt x="30" y="0"/>
                </a:moveTo>
                <a:cubicBezTo>
                  <a:pt x="27" y="0"/>
                  <a:pt x="24" y="1"/>
                  <a:pt x="21" y="1"/>
                </a:cubicBezTo>
                <a:cubicBezTo>
                  <a:pt x="21" y="8"/>
                  <a:pt x="20" y="14"/>
                  <a:pt x="20" y="20"/>
                </a:cubicBezTo>
                <a:cubicBezTo>
                  <a:pt x="1" y="20"/>
                  <a:pt x="1" y="20"/>
                  <a:pt x="1" y="20"/>
                </a:cubicBezTo>
                <a:cubicBezTo>
                  <a:pt x="0" y="24"/>
                  <a:pt x="0" y="27"/>
                  <a:pt x="0" y="30"/>
                </a:cubicBezTo>
                <a:cubicBezTo>
                  <a:pt x="0" y="34"/>
                  <a:pt x="0" y="37"/>
                  <a:pt x="1" y="40"/>
                </a:cubicBezTo>
                <a:cubicBezTo>
                  <a:pt x="20" y="40"/>
                  <a:pt x="20" y="40"/>
                  <a:pt x="20" y="40"/>
                </a:cubicBezTo>
                <a:cubicBezTo>
                  <a:pt x="20" y="47"/>
                  <a:pt x="21" y="53"/>
                  <a:pt x="21" y="59"/>
                </a:cubicBezTo>
                <a:cubicBezTo>
                  <a:pt x="24" y="60"/>
                  <a:pt x="27" y="61"/>
                  <a:pt x="30" y="61"/>
                </a:cubicBezTo>
                <a:cubicBezTo>
                  <a:pt x="34" y="61"/>
                  <a:pt x="38" y="60"/>
                  <a:pt x="41" y="59"/>
                </a:cubicBezTo>
                <a:cubicBezTo>
                  <a:pt x="40" y="49"/>
                  <a:pt x="40" y="40"/>
                  <a:pt x="40" y="30"/>
                </a:cubicBezTo>
                <a:cubicBezTo>
                  <a:pt x="40" y="21"/>
                  <a:pt x="40" y="12"/>
                  <a:pt x="41" y="2"/>
                </a:cubicBezTo>
                <a:cubicBezTo>
                  <a:pt x="38" y="1"/>
                  <a:pt x="34" y="0"/>
                  <a:pt x="30" y="0"/>
                </a:cubicBezTo>
              </a:path>
            </a:pathLst>
          </a:custGeom>
          <a:solidFill>
            <a:srgbClr val="BA89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Oval 34">
            <a:extLst>
              <a:ext uri="{FF2B5EF4-FFF2-40B4-BE49-F238E27FC236}">
                <a16:creationId xmlns:a16="http://schemas.microsoft.com/office/drawing/2014/main" id="{50C9756E-3A2F-4A27-A33F-1FE0F1A0D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694" y="642938"/>
            <a:ext cx="90488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" name="Oval 35">
            <a:extLst>
              <a:ext uri="{FF2B5EF4-FFF2-40B4-BE49-F238E27FC236}">
                <a16:creationId xmlns:a16="http://schemas.microsoft.com/office/drawing/2014/main" id="{861AF93F-FF6B-468F-AC32-9DB6A0DEC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6894" y="1195388"/>
            <a:ext cx="90488" cy="85725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" name="Oval 36">
            <a:extLst>
              <a:ext uri="{FF2B5EF4-FFF2-40B4-BE49-F238E27FC236}">
                <a16:creationId xmlns:a16="http://schemas.microsoft.com/office/drawing/2014/main" id="{9A633D92-3DA1-4D20-86D3-B0A83C0EE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694" y="1743075"/>
            <a:ext cx="90488" cy="9048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" name="Oval 37">
            <a:extLst>
              <a:ext uri="{FF2B5EF4-FFF2-40B4-BE49-F238E27FC236}">
                <a16:creationId xmlns:a16="http://schemas.microsoft.com/office/drawing/2014/main" id="{EC38DE18-41E5-4EC9-B1AC-A97117A66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1232" y="1190625"/>
            <a:ext cx="93663" cy="93663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" name="Oval 38">
            <a:extLst>
              <a:ext uri="{FF2B5EF4-FFF2-40B4-BE49-F238E27FC236}">
                <a16:creationId xmlns:a16="http://schemas.microsoft.com/office/drawing/2014/main" id="{4F2466F2-1785-4466-BD21-AAA57A473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2157" y="5583238"/>
            <a:ext cx="211138" cy="207963"/>
          </a:xfrm>
          <a:prstGeom prst="ellipse">
            <a:avLst/>
          </a:prstGeom>
          <a:solidFill>
            <a:srgbClr val="4F9D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6" name="Freeform 39">
            <a:extLst>
              <a:ext uri="{FF2B5EF4-FFF2-40B4-BE49-F238E27FC236}">
                <a16:creationId xmlns:a16="http://schemas.microsoft.com/office/drawing/2014/main" id="{259E805B-0C7F-4BC2-9F26-49DF8FFE4B23}"/>
              </a:ext>
            </a:extLst>
          </p:cNvPr>
          <p:cNvSpPr>
            <a:spLocks noEditPoints="1"/>
          </p:cNvSpPr>
          <p:nvPr/>
        </p:nvSpPr>
        <p:spPr bwMode="auto">
          <a:xfrm>
            <a:off x="7572307" y="5121275"/>
            <a:ext cx="590550" cy="1131888"/>
          </a:xfrm>
          <a:custGeom>
            <a:avLst/>
            <a:gdLst>
              <a:gd name="T0" fmla="*/ 39 w 171"/>
              <a:gd name="T1" fmla="*/ 192 h 328"/>
              <a:gd name="T2" fmla="*/ 0 w 171"/>
              <a:gd name="T3" fmla="*/ 318 h 328"/>
              <a:gd name="T4" fmla="*/ 17 w 171"/>
              <a:gd name="T5" fmla="*/ 328 h 328"/>
              <a:gd name="T6" fmla="*/ 59 w 171"/>
              <a:gd name="T7" fmla="*/ 193 h 328"/>
              <a:gd name="T8" fmla="*/ 51 w 171"/>
              <a:gd name="T9" fmla="*/ 194 h 328"/>
              <a:gd name="T10" fmla="*/ 39 w 171"/>
              <a:gd name="T11" fmla="*/ 192 h 328"/>
              <a:gd name="T12" fmla="*/ 171 w 171"/>
              <a:gd name="T13" fmla="*/ 154 h 328"/>
              <a:gd name="T14" fmla="*/ 79 w 171"/>
              <a:gd name="T15" fmla="*/ 154 h 328"/>
              <a:gd name="T16" fmla="*/ 81 w 171"/>
              <a:gd name="T17" fmla="*/ 164 h 328"/>
              <a:gd name="T18" fmla="*/ 79 w 171"/>
              <a:gd name="T19" fmla="*/ 174 h 328"/>
              <a:gd name="T20" fmla="*/ 171 w 171"/>
              <a:gd name="T21" fmla="*/ 174 h 328"/>
              <a:gd name="T22" fmla="*/ 171 w 171"/>
              <a:gd name="T23" fmla="*/ 154 h 328"/>
              <a:gd name="T24" fmla="*/ 17 w 171"/>
              <a:gd name="T25" fmla="*/ 0 h 328"/>
              <a:gd name="T26" fmla="*/ 0 w 171"/>
              <a:gd name="T27" fmla="*/ 10 h 328"/>
              <a:gd name="T28" fmla="*/ 39 w 171"/>
              <a:gd name="T29" fmla="*/ 136 h 328"/>
              <a:gd name="T30" fmla="*/ 51 w 171"/>
              <a:gd name="T31" fmla="*/ 134 h 328"/>
              <a:gd name="T32" fmla="*/ 59 w 171"/>
              <a:gd name="T33" fmla="*/ 135 h 328"/>
              <a:gd name="T34" fmla="*/ 17 w 171"/>
              <a:gd name="T35" fmla="*/ 0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1" h="328">
                <a:moveTo>
                  <a:pt x="39" y="192"/>
                </a:moveTo>
                <a:cubicBezTo>
                  <a:pt x="35" y="237"/>
                  <a:pt x="22" y="280"/>
                  <a:pt x="0" y="318"/>
                </a:cubicBezTo>
                <a:cubicBezTo>
                  <a:pt x="17" y="328"/>
                  <a:pt x="17" y="328"/>
                  <a:pt x="17" y="328"/>
                </a:cubicBezTo>
                <a:cubicBezTo>
                  <a:pt x="41" y="287"/>
                  <a:pt x="55" y="241"/>
                  <a:pt x="59" y="193"/>
                </a:cubicBezTo>
                <a:cubicBezTo>
                  <a:pt x="57" y="194"/>
                  <a:pt x="54" y="194"/>
                  <a:pt x="51" y="194"/>
                </a:cubicBezTo>
                <a:cubicBezTo>
                  <a:pt x="47" y="194"/>
                  <a:pt x="43" y="194"/>
                  <a:pt x="39" y="192"/>
                </a:cubicBezTo>
                <a:moveTo>
                  <a:pt x="171" y="154"/>
                </a:moveTo>
                <a:cubicBezTo>
                  <a:pt x="79" y="154"/>
                  <a:pt x="79" y="154"/>
                  <a:pt x="79" y="154"/>
                </a:cubicBezTo>
                <a:cubicBezTo>
                  <a:pt x="80" y="157"/>
                  <a:pt x="81" y="161"/>
                  <a:pt x="81" y="164"/>
                </a:cubicBezTo>
                <a:cubicBezTo>
                  <a:pt x="81" y="168"/>
                  <a:pt x="80" y="171"/>
                  <a:pt x="79" y="174"/>
                </a:cubicBezTo>
                <a:cubicBezTo>
                  <a:pt x="171" y="174"/>
                  <a:pt x="171" y="174"/>
                  <a:pt x="171" y="174"/>
                </a:cubicBezTo>
                <a:cubicBezTo>
                  <a:pt x="171" y="154"/>
                  <a:pt x="171" y="154"/>
                  <a:pt x="171" y="154"/>
                </a:cubicBezTo>
                <a:moveTo>
                  <a:pt x="17" y="0"/>
                </a:moveTo>
                <a:cubicBezTo>
                  <a:pt x="0" y="10"/>
                  <a:pt x="0" y="10"/>
                  <a:pt x="0" y="10"/>
                </a:cubicBezTo>
                <a:cubicBezTo>
                  <a:pt x="22" y="48"/>
                  <a:pt x="35" y="92"/>
                  <a:pt x="39" y="136"/>
                </a:cubicBezTo>
                <a:cubicBezTo>
                  <a:pt x="43" y="135"/>
                  <a:pt x="47" y="134"/>
                  <a:pt x="51" y="134"/>
                </a:cubicBezTo>
                <a:cubicBezTo>
                  <a:pt x="54" y="134"/>
                  <a:pt x="57" y="134"/>
                  <a:pt x="59" y="135"/>
                </a:cubicBezTo>
                <a:cubicBezTo>
                  <a:pt x="55" y="88"/>
                  <a:pt x="41" y="41"/>
                  <a:pt x="17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" name="Freeform 40">
            <a:extLst>
              <a:ext uri="{FF2B5EF4-FFF2-40B4-BE49-F238E27FC236}">
                <a16:creationId xmlns:a16="http://schemas.microsoft.com/office/drawing/2014/main" id="{C68570F8-217A-48C8-B9AB-91844B793DE4}"/>
              </a:ext>
            </a:extLst>
          </p:cNvPr>
          <p:cNvSpPr>
            <a:spLocks/>
          </p:cNvSpPr>
          <p:nvPr/>
        </p:nvSpPr>
        <p:spPr bwMode="auto">
          <a:xfrm>
            <a:off x="7707244" y="5583238"/>
            <a:ext cx="146050" cy="207963"/>
          </a:xfrm>
          <a:custGeom>
            <a:avLst/>
            <a:gdLst>
              <a:gd name="T0" fmla="*/ 12 w 42"/>
              <a:gd name="T1" fmla="*/ 0 h 60"/>
              <a:gd name="T2" fmla="*/ 0 w 42"/>
              <a:gd name="T3" fmla="*/ 2 h 60"/>
              <a:gd name="T4" fmla="*/ 2 w 42"/>
              <a:gd name="T5" fmla="*/ 30 h 60"/>
              <a:gd name="T6" fmla="*/ 0 w 42"/>
              <a:gd name="T7" fmla="*/ 58 h 60"/>
              <a:gd name="T8" fmla="*/ 12 w 42"/>
              <a:gd name="T9" fmla="*/ 60 h 60"/>
              <a:gd name="T10" fmla="*/ 20 w 42"/>
              <a:gd name="T11" fmla="*/ 59 h 60"/>
              <a:gd name="T12" fmla="*/ 21 w 42"/>
              <a:gd name="T13" fmla="*/ 40 h 60"/>
              <a:gd name="T14" fmla="*/ 40 w 42"/>
              <a:gd name="T15" fmla="*/ 40 h 60"/>
              <a:gd name="T16" fmla="*/ 42 w 42"/>
              <a:gd name="T17" fmla="*/ 30 h 60"/>
              <a:gd name="T18" fmla="*/ 40 w 42"/>
              <a:gd name="T19" fmla="*/ 20 h 60"/>
              <a:gd name="T20" fmla="*/ 21 w 42"/>
              <a:gd name="T21" fmla="*/ 20 h 60"/>
              <a:gd name="T22" fmla="*/ 20 w 42"/>
              <a:gd name="T23" fmla="*/ 1 h 60"/>
              <a:gd name="T24" fmla="*/ 12 w 42"/>
              <a:gd name="T25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2" h="60">
                <a:moveTo>
                  <a:pt x="12" y="0"/>
                </a:moveTo>
                <a:cubicBezTo>
                  <a:pt x="8" y="0"/>
                  <a:pt x="4" y="1"/>
                  <a:pt x="0" y="2"/>
                </a:cubicBezTo>
                <a:cubicBezTo>
                  <a:pt x="1" y="11"/>
                  <a:pt x="2" y="21"/>
                  <a:pt x="2" y="30"/>
                </a:cubicBezTo>
                <a:cubicBezTo>
                  <a:pt x="2" y="39"/>
                  <a:pt x="1" y="49"/>
                  <a:pt x="0" y="58"/>
                </a:cubicBezTo>
                <a:cubicBezTo>
                  <a:pt x="4" y="60"/>
                  <a:pt x="8" y="60"/>
                  <a:pt x="12" y="60"/>
                </a:cubicBezTo>
                <a:cubicBezTo>
                  <a:pt x="15" y="60"/>
                  <a:pt x="18" y="60"/>
                  <a:pt x="20" y="59"/>
                </a:cubicBezTo>
                <a:cubicBezTo>
                  <a:pt x="21" y="53"/>
                  <a:pt x="21" y="46"/>
                  <a:pt x="21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41" y="37"/>
                  <a:pt x="42" y="34"/>
                  <a:pt x="42" y="30"/>
                </a:cubicBezTo>
                <a:cubicBezTo>
                  <a:pt x="42" y="27"/>
                  <a:pt x="41" y="23"/>
                  <a:pt x="40" y="20"/>
                </a:cubicBezTo>
                <a:cubicBezTo>
                  <a:pt x="21" y="20"/>
                  <a:pt x="21" y="20"/>
                  <a:pt x="21" y="20"/>
                </a:cubicBezTo>
                <a:cubicBezTo>
                  <a:pt x="21" y="14"/>
                  <a:pt x="21" y="7"/>
                  <a:pt x="20" y="1"/>
                </a:cubicBezTo>
                <a:cubicBezTo>
                  <a:pt x="18" y="0"/>
                  <a:pt x="15" y="0"/>
                  <a:pt x="12" y="0"/>
                </a:cubicBezTo>
              </a:path>
            </a:pathLst>
          </a:custGeom>
          <a:solidFill>
            <a:srgbClr val="37869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" name="Oval 41">
            <a:extLst>
              <a:ext uri="{FF2B5EF4-FFF2-40B4-BE49-F238E27FC236}">
                <a16:creationId xmlns:a16="http://schemas.microsoft.com/office/drawing/2014/main" id="{DA4FC778-1D66-47A5-A46B-954481EA5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8407" y="5641975"/>
            <a:ext cx="85725" cy="9048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" name="Oval 42">
            <a:extLst>
              <a:ext uri="{FF2B5EF4-FFF2-40B4-BE49-F238E27FC236}">
                <a16:creationId xmlns:a16="http://schemas.microsoft.com/office/drawing/2014/main" id="{2D50AD14-9E2B-4E03-B5BA-1F8846B8D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0894" y="5641975"/>
            <a:ext cx="93663" cy="93663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" name="Oval 43">
            <a:extLst>
              <a:ext uri="{FF2B5EF4-FFF2-40B4-BE49-F238E27FC236}">
                <a16:creationId xmlns:a16="http://schemas.microsoft.com/office/drawing/2014/main" id="{7558F56D-8B30-4ECE-9375-7C47FCC1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607" y="6194425"/>
            <a:ext cx="88900" cy="87313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1" name="Oval 44">
            <a:extLst>
              <a:ext uri="{FF2B5EF4-FFF2-40B4-BE49-F238E27FC236}">
                <a16:creationId xmlns:a16="http://schemas.microsoft.com/office/drawing/2014/main" id="{2A384DA4-B87F-47A0-879C-1557117922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607" y="5092700"/>
            <a:ext cx="88900" cy="9048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Oval 45">
            <a:extLst>
              <a:ext uri="{FF2B5EF4-FFF2-40B4-BE49-F238E27FC236}">
                <a16:creationId xmlns:a16="http://schemas.microsoft.com/office/drawing/2014/main" id="{B335CDB3-CF82-4B2A-A148-B7CE94024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2157" y="2720975"/>
            <a:ext cx="211138" cy="207963"/>
          </a:xfrm>
          <a:prstGeom prst="ellipse">
            <a:avLst/>
          </a:prstGeom>
          <a:solidFill>
            <a:srgbClr val="D167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3" name="Freeform 46">
            <a:extLst>
              <a:ext uri="{FF2B5EF4-FFF2-40B4-BE49-F238E27FC236}">
                <a16:creationId xmlns:a16="http://schemas.microsoft.com/office/drawing/2014/main" id="{2DAE3786-03E3-4961-828D-614D4B6CF8C5}"/>
              </a:ext>
            </a:extLst>
          </p:cNvPr>
          <p:cNvSpPr>
            <a:spLocks noEditPoints="1"/>
          </p:cNvSpPr>
          <p:nvPr/>
        </p:nvSpPr>
        <p:spPr bwMode="auto">
          <a:xfrm>
            <a:off x="7572307" y="2259013"/>
            <a:ext cx="590550" cy="1131888"/>
          </a:xfrm>
          <a:custGeom>
            <a:avLst/>
            <a:gdLst>
              <a:gd name="T0" fmla="*/ 39 w 171"/>
              <a:gd name="T1" fmla="*/ 192 h 328"/>
              <a:gd name="T2" fmla="*/ 0 w 171"/>
              <a:gd name="T3" fmla="*/ 318 h 328"/>
              <a:gd name="T4" fmla="*/ 17 w 171"/>
              <a:gd name="T5" fmla="*/ 328 h 328"/>
              <a:gd name="T6" fmla="*/ 59 w 171"/>
              <a:gd name="T7" fmla="*/ 193 h 328"/>
              <a:gd name="T8" fmla="*/ 51 w 171"/>
              <a:gd name="T9" fmla="*/ 194 h 328"/>
              <a:gd name="T10" fmla="*/ 39 w 171"/>
              <a:gd name="T11" fmla="*/ 192 h 328"/>
              <a:gd name="T12" fmla="*/ 171 w 171"/>
              <a:gd name="T13" fmla="*/ 154 h 328"/>
              <a:gd name="T14" fmla="*/ 79 w 171"/>
              <a:gd name="T15" fmla="*/ 154 h 328"/>
              <a:gd name="T16" fmla="*/ 81 w 171"/>
              <a:gd name="T17" fmla="*/ 164 h 328"/>
              <a:gd name="T18" fmla="*/ 79 w 171"/>
              <a:gd name="T19" fmla="*/ 174 h 328"/>
              <a:gd name="T20" fmla="*/ 171 w 171"/>
              <a:gd name="T21" fmla="*/ 174 h 328"/>
              <a:gd name="T22" fmla="*/ 171 w 171"/>
              <a:gd name="T23" fmla="*/ 154 h 328"/>
              <a:gd name="T24" fmla="*/ 17 w 171"/>
              <a:gd name="T25" fmla="*/ 0 h 328"/>
              <a:gd name="T26" fmla="*/ 0 w 171"/>
              <a:gd name="T27" fmla="*/ 10 h 328"/>
              <a:gd name="T28" fmla="*/ 39 w 171"/>
              <a:gd name="T29" fmla="*/ 136 h 328"/>
              <a:gd name="T30" fmla="*/ 51 w 171"/>
              <a:gd name="T31" fmla="*/ 134 h 328"/>
              <a:gd name="T32" fmla="*/ 59 w 171"/>
              <a:gd name="T33" fmla="*/ 135 h 328"/>
              <a:gd name="T34" fmla="*/ 17 w 171"/>
              <a:gd name="T35" fmla="*/ 0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1" h="328">
                <a:moveTo>
                  <a:pt x="39" y="192"/>
                </a:moveTo>
                <a:cubicBezTo>
                  <a:pt x="35" y="237"/>
                  <a:pt x="22" y="280"/>
                  <a:pt x="0" y="318"/>
                </a:cubicBezTo>
                <a:cubicBezTo>
                  <a:pt x="17" y="328"/>
                  <a:pt x="17" y="328"/>
                  <a:pt x="17" y="328"/>
                </a:cubicBezTo>
                <a:cubicBezTo>
                  <a:pt x="41" y="287"/>
                  <a:pt x="55" y="241"/>
                  <a:pt x="59" y="193"/>
                </a:cubicBezTo>
                <a:cubicBezTo>
                  <a:pt x="57" y="194"/>
                  <a:pt x="54" y="194"/>
                  <a:pt x="51" y="194"/>
                </a:cubicBezTo>
                <a:cubicBezTo>
                  <a:pt x="47" y="194"/>
                  <a:pt x="43" y="193"/>
                  <a:pt x="39" y="192"/>
                </a:cubicBezTo>
                <a:moveTo>
                  <a:pt x="171" y="154"/>
                </a:moveTo>
                <a:cubicBezTo>
                  <a:pt x="79" y="154"/>
                  <a:pt x="79" y="154"/>
                  <a:pt x="79" y="154"/>
                </a:cubicBezTo>
                <a:cubicBezTo>
                  <a:pt x="80" y="157"/>
                  <a:pt x="81" y="161"/>
                  <a:pt x="81" y="164"/>
                </a:cubicBezTo>
                <a:cubicBezTo>
                  <a:pt x="81" y="168"/>
                  <a:pt x="80" y="171"/>
                  <a:pt x="79" y="174"/>
                </a:cubicBezTo>
                <a:cubicBezTo>
                  <a:pt x="171" y="174"/>
                  <a:pt x="171" y="174"/>
                  <a:pt x="171" y="174"/>
                </a:cubicBezTo>
                <a:cubicBezTo>
                  <a:pt x="171" y="154"/>
                  <a:pt x="171" y="154"/>
                  <a:pt x="171" y="154"/>
                </a:cubicBezTo>
                <a:moveTo>
                  <a:pt x="17" y="0"/>
                </a:moveTo>
                <a:cubicBezTo>
                  <a:pt x="0" y="10"/>
                  <a:pt x="0" y="10"/>
                  <a:pt x="0" y="10"/>
                </a:cubicBezTo>
                <a:cubicBezTo>
                  <a:pt x="22" y="48"/>
                  <a:pt x="35" y="92"/>
                  <a:pt x="39" y="136"/>
                </a:cubicBezTo>
                <a:cubicBezTo>
                  <a:pt x="43" y="135"/>
                  <a:pt x="47" y="134"/>
                  <a:pt x="51" y="134"/>
                </a:cubicBezTo>
                <a:cubicBezTo>
                  <a:pt x="54" y="134"/>
                  <a:pt x="57" y="134"/>
                  <a:pt x="59" y="135"/>
                </a:cubicBezTo>
                <a:cubicBezTo>
                  <a:pt x="55" y="87"/>
                  <a:pt x="41" y="41"/>
                  <a:pt x="17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4" name="Freeform 47">
            <a:extLst>
              <a:ext uri="{FF2B5EF4-FFF2-40B4-BE49-F238E27FC236}">
                <a16:creationId xmlns:a16="http://schemas.microsoft.com/office/drawing/2014/main" id="{22CD6C2E-7135-4ADE-8567-96F1E5B323D4}"/>
              </a:ext>
            </a:extLst>
          </p:cNvPr>
          <p:cNvSpPr>
            <a:spLocks/>
          </p:cNvSpPr>
          <p:nvPr/>
        </p:nvSpPr>
        <p:spPr bwMode="auto">
          <a:xfrm>
            <a:off x="7707244" y="2720975"/>
            <a:ext cx="146050" cy="207963"/>
          </a:xfrm>
          <a:custGeom>
            <a:avLst/>
            <a:gdLst>
              <a:gd name="T0" fmla="*/ 12 w 42"/>
              <a:gd name="T1" fmla="*/ 0 h 60"/>
              <a:gd name="T2" fmla="*/ 0 w 42"/>
              <a:gd name="T3" fmla="*/ 2 h 60"/>
              <a:gd name="T4" fmla="*/ 2 w 42"/>
              <a:gd name="T5" fmla="*/ 30 h 60"/>
              <a:gd name="T6" fmla="*/ 0 w 42"/>
              <a:gd name="T7" fmla="*/ 58 h 60"/>
              <a:gd name="T8" fmla="*/ 12 w 42"/>
              <a:gd name="T9" fmla="*/ 60 h 60"/>
              <a:gd name="T10" fmla="*/ 20 w 42"/>
              <a:gd name="T11" fmla="*/ 59 h 60"/>
              <a:gd name="T12" fmla="*/ 21 w 42"/>
              <a:gd name="T13" fmla="*/ 40 h 60"/>
              <a:gd name="T14" fmla="*/ 40 w 42"/>
              <a:gd name="T15" fmla="*/ 40 h 60"/>
              <a:gd name="T16" fmla="*/ 42 w 42"/>
              <a:gd name="T17" fmla="*/ 30 h 60"/>
              <a:gd name="T18" fmla="*/ 40 w 42"/>
              <a:gd name="T19" fmla="*/ 20 h 60"/>
              <a:gd name="T20" fmla="*/ 21 w 42"/>
              <a:gd name="T21" fmla="*/ 20 h 60"/>
              <a:gd name="T22" fmla="*/ 20 w 42"/>
              <a:gd name="T23" fmla="*/ 1 h 60"/>
              <a:gd name="T24" fmla="*/ 12 w 42"/>
              <a:gd name="T25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2" h="60">
                <a:moveTo>
                  <a:pt x="12" y="0"/>
                </a:moveTo>
                <a:cubicBezTo>
                  <a:pt x="8" y="0"/>
                  <a:pt x="4" y="1"/>
                  <a:pt x="0" y="2"/>
                </a:cubicBezTo>
                <a:cubicBezTo>
                  <a:pt x="1" y="11"/>
                  <a:pt x="2" y="21"/>
                  <a:pt x="2" y="30"/>
                </a:cubicBezTo>
                <a:cubicBezTo>
                  <a:pt x="2" y="39"/>
                  <a:pt x="1" y="49"/>
                  <a:pt x="0" y="58"/>
                </a:cubicBezTo>
                <a:cubicBezTo>
                  <a:pt x="4" y="59"/>
                  <a:pt x="8" y="60"/>
                  <a:pt x="12" y="60"/>
                </a:cubicBezTo>
                <a:cubicBezTo>
                  <a:pt x="15" y="60"/>
                  <a:pt x="18" y="60"/>
                  <a:pt x="20" y="59"/>
                </a:cubicBezTo>
                <a:cubicBezTo>
                  <a:pt x="21" y="53"/>
                  <a:pt x="21" y="46"/>
                  <a:pt x="21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41" y="37"/>
                  <a:pt x="42" y="34"/>
                  <a:pt x="42" y="30"/>
                </a:cubicBezTo>
                <a:cubicBezTo>
                  <a:pt x="42" y="27"/>
                  <a:pt x="41" y="23"/>
                  <a:pt x="40" y="20"/>
                </a:cubicBezTo>
                <a:cubicBezTo>
                  <a:pt x="21" y="20"/>
                  <a:pt x="21" y="20"/>
                  <a:pt x="21" y="20"/>
                </a:cubicBezTo>
                <a:cubicBezTo>
                  <a:pt x="21" y="14"/>
                  <a:pt x="21" y="7"/>
                  <a:pt x="20" y="1"/>
                </a:cubicBezTo>
                <a:cubicBezTo>
                  <a:pt x="18" y="0"/>
                  <a:pt x="15" y="0"/>
                  <a:pt x="12" y="0"/>
                </a:cubicBezTo>
              </a:path>
            </a:pathLst>
          </a:custGeom>
          <a:solidFill>
            <a:srgbClr val="A958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5" name="Oval 48">
            <a:extLst>
              <a:ext uri="{FF2B5EF4-FFF2-40B4-BE49-F238E27FC236}">
                <a16:creationId xmlns:a16="http://schemas.microsoft.com/office/drawing/2014/main" id="{8B564147-11C5-4DF5-88E8-F09536884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8407" y="2779713"/>
            <a:ext cx="85725" cy="9048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6" name="Oval 49">
            <a:extLst>
              <a:ext uri="{FF2B5EF4-FFF2-40B4-BE49-F238E27FC236}">
                <a16:creationId xmlns:a16="http://schemas.microsoft.com/office/drawing/2014/main" id="{5EBBAC28-1D20-4865-BB45-DE62881B2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0894" y="2779713"/>
            <a:ext cx="93663" cy="93663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7" name="Oval 50">
            <a:extLst>
              <a:ext uri="{FF2B5EF4-FFF2-40B4-BE49-F238E27FC236}">
                <a16:creationId xmlns:a16="http://schemas.microsoft.com/office/drawing/2014/main" id="{9294A5B9-D05C-4128-A5BC-26F80B8254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607" y="3332163"/>
            <a:ext cx="88900" cy="85725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Oval 51">
            <a:extLst>
              <a:ext uri="{FF2B5EF4-FFF2-40B4-BE49-F238E27FC236}">
                <a16:creationId xmlns:a16="http://schemas.microsoft.com/office/drawing/2014/main" id="{A95CE6C0-7CA2-4CD0-B9CB-2D794C040C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607" y="2230438"/>
            <a:ext cx="88900" cy="9048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9" name="Oval 52">
            <a:extLst>
              <a:ext uri="{FF2B5EF4-FFF2-40B4-BE49-F238E27FC236}">
                <a16:creationId xmlns:a16="http://schemas.microsoft.com/office/drawing/2014/main" id="{F31CDC92-C7D6-4A78-AEB1-9E3B446D82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2494" y="3995738"/>
            <a:ext cx="207963" cy="209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:a16="http://schemas.microsoft.com/office/drawing/2014/main" id="{5EDAADBF-B0EE-4170-8895-25E07DB4DBD3}"/>
              </a:ext>
            </a:extLst>
          </p:cNvPr>
          <p:cNvSpPr>
            <a:spLocks noEditPoints="1"/>
          </p:cNvSpPr>
          <p:nvPr/>
        </p:nvSpPr>
        <p:spPr bwMode="auto">
          <a:xfrm>
            <a:off x="4951344" y="3532188"/>
            <a:ext cx="590550" cy="1136650"/>
          </a:xfrm>
          <a:custGeom>
            <a:avLst/>
            <a:gdLst>
              <a:gd name="T0" fmla="*/ 131 w 171"/>
              <a:gd name="T1" fmla="*/ 193 h 329"/>
              <a:gd name="T2" fmla="*/ 120 w 171"/>
              <a:gd name="T3" fmla="*/ 195 h 329"/>
              <a:gd name="T4" fmla="*/ 111 w 171"/>
              <a:gd name="T5" fmla="*/ 193 h 329"/>
              <a:gd name="T6" fmla="*/ 153 w 171"/>
              <a:gd name="T7" fmla="*/ 329 h 329"/>
              <a:gd name="T8" fmla="*/ 171 w 171"/>
              <a:gd name="T9" fmla="*/ 319 h 329"/>
              <a:gd name="T10" fmla="*/ 131 w 171"/>
              <a:gd name="T11" fmla="*/ 193 h 329"/>
              <a:gd name="T12" fmla="*/ 91 w 171"/>
              <a:gd name="T13" fmla="*/ 155 h 329"/>
              <a:gd name="T14" fmla="*/ 0 w 171"/>
              <a:gd name="T15" fmla="*/ 155 h 329"/>
              <a:gd name="T16" fmla="*/ 0 w 171"/>
              <a:gd name="T17" fmla="*/ 174 h 329"/>
              <a:gd name="T18" fmla="*/ 91 w 171"/>
              <a:gd name="T19" fmla="*/ 174 h 329"/>
              <a:gd name="T20" fmla="*/ 90 w 171"/>
              <a:gd name="T21" fmla="*/ 164 h 329"/>
              <a:gd name="T22" fmla="*/ 91 w 171"/>
              <a:gd name="T23" fmla="*/ 155 h 329"/>
              <a:gd name="T24" fmla="*/ 153 w 171"/>
              <a:gd name="T25" fmla="*/ 0 h 329"/>
              <a:gd name="T26" fmla="*/ 111 w 171"/>
              <a:gd name="T27" fmla="*/ 136 h 329"/>
              <a:gd name="T28" fmla="*/ 120 w 171"/>
              <a:gd name="T29" fmla="*/ 134 h 329"/>
              <a:gd name="T30" fmla="*/ 131 w 171"/>
              <a:gd name="T31" fmla="*/ 136 h 329"/>
              <a:gd name="T32" fmla="*/ 171 w 171"/>
              <a:gd name="T33" fmla="*/ 10 h 329"/>
              <a:gd name="T34" fmla="*/ 153 w 171"/>
              <a:gd name="T35" fmla="*/ 0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1" h="329">
                <a:moveTo>
                  <a:pt x="131" y="193"/>
                </a:moveTo>
                <a:cubicBezTo>
                  <a:pt x="128" y="194"/>
                  <a:pt x="124" y="195"/>
                  <a:pt x="120" y="195"/>
                </a:cubicBezTo>
                <a:cubicBezTo>
                  <a:pt x="117" y="195"/>
                  <a:pt x="114" y="194"/>
                  <a:pt x="111" y="193"/>
                </a:cubicBezTo>
                <a:cubicBezTo>
                  <a:pt x="115" y="241"/>
                  <a:pt x="130" y="287"/>
                  <a:pt x="153" y="329"/>
                </a:cubicBezTo>
                <a:cubicBezTo>
                  <a:pt x="171" y="319"/>
                  <a:pt x="171" y="319"/>
                  <a:pt x="171" y="319"/>
                </a:cubicBezTo>
                <a:cubicBezTo>
                  <a:pt x="149" y="280"/>
                  <a:pt x="135" y="237"/>
                  <a:pt x="131" y="193"/>
                </a:cubicBezTo>
                <a:moveTo>
                  <a:pt x="91" y="155"/>
                </a:moveTo>
                <a:cubicBezTo>
                  <a:pt x="0" y="155"/>
                  <a:pt x="0" y="155"/>
                  <a:pt x="0" y="155"/>
                </a:cubicBezTo>
                <a:cubicBezTo>
                  <a:pt x="0" y="174"/>
                  <a:pt x="0" y="174"/>
                  <a:pt x="0" y="174"/>
                </a:cubicBezTo>
                <a:cubicBezTo>
                  <a:pt x="91" y="174"/>
                  <a:pt x="91" y="174"/>
                  <a:pt x="91" y="174"/>
                </a:cubicBezTo>
                <a:cubicBezTo>
                  <a:pt x="90" y="171"/>
                  <a:pt x="90" y="168"/>
                  <a:pt x="90" y="164"/>
                </a:cubicBezTo>
                <a:cubicBezTo>
                  <a:pt x="90" y="161"/>
                  <a:pt x="90" y="158"/>
                  <a:pt x="91" y="155"/>
                </a:cubicBezTo>
                <a:moveTo>
                  <a:pt x="153" y="0"/>
                </a:moveTo>
                <a:cubicBezTo>
                  <a:pt x="130" y="42"/>
                  <a:pt x="115" y="88"/>
                  <a:pt x="111" y="136"/>
                </a:cubicBezTo>
                <a:cubicBezTo>
                  <a:pt x="114" y="135"/>
                  <a:pt x="117" y="134"/>
                  <a:pt x="120" y="134"/>
                </a:cubicBezTo>
                <a:cubicBezTo>
                  <a:pt x="124" y="134"/>
                  <a:pt x="128" y="135"/>
                  <a:pt x="131" y="136"/>
                </a:cubicBezTo>
                <a:cubicBezTo>
                  <a:pt x="135" y="92"/>
                  <a:pt x="149" y="49"/>
                  <a:pt x="171" y="10"/>
                </a:cubicBezTo>
                <a:cubicBezTo>
                  <a:pt x="153" y="0"/>
                  <a:pt x="153" y="0"/>
                  <a:pt x="153" y="0"/>
                </a:cubicBezTo>
              </a:path>
            </a:pathLst>
          </a:custGeom>
          <a:solidFill>
            <a:srgbClr val="A5B2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1" name="Freeform 54">
            <a:extLst>
              <a:ext uri="{FF2B5EF4-FFF2-40B4-BE49-F238E27FC236}">
                <a16:creationId xmlns:a16="http://schemas.microsoft.com/office/drawing/2014/main" id="{C0F6F38A-6C4C-4C95-85CC-B6DE468E7C1F}"/>
              </a:ext>
            </a:extLst>
          </p:cNvPr>
          <p:cNvSpPr>
            <a:spLocks/>
          </p:cNvSpPr>
          <p:nvPr/>
        </p:nvSpPr>
        <p:spPr bwMode="auto">
          <a:xfrm>
            <a:off x="5262494" y="3995738"/>
            <a:ext cx="141288" cy="209550"/>
          </a:xfrm>
          <a:custGeom>
            <a:avLst/>
            <a:gdLst>
              <a:gd name="T0" fmla="*/ 30 w 41"/>
              <a:gd name="T1" fmla="*/ 0 h 61"/>
              <a:gd name="T2" fmla="*/ 21 w 41"/>
              <a:gd name="T3" fmla="*/ 2 h 61"/>
              <a:gd name="T4" fmla="*/ 20 w 41"/>
              <a:gd name="T5" fmla="*/ 21 h 61"/>
              <a:gd name="T6" fmla="*/ 1 w 41"/>
              <a:gd name="T7" fmla="*/ 21 h 61"/>
              <a:gd name="T8" fmla="*/ 0 w 41"/>
              <a:gd name="T9" fmla="*/ 30 h 61"/>
              <a:gd name="T10" fmla="*/ 1 w 41"/>
              <a:gd name="T11" fmla="*/ 40 h 61"/>
              <a:gd name="T12" fmla="*/ 20 w 41"/>
              <a:gd name="T13" fmla="*/ 40 h 61"/>
              <a:gd name="T14" fmla="*/ 21 w 41"/>
              <a:gd name="T15" fmla="*/ 59 h 61"/>
              <a:gd name="T16" fmla="*/ 30 w 41"/>
              <a:gd name="T17" fmla="*/ 61 h 61"/>
              <a:gd name="T18" fmla="*/ 41 w 41"/>
              <a:gd name="T19" fmla="*/ 59 h 61"/>
              <a:gd name="T20" fmla="*/ 40 w 41"/>
              <a:gd name="T21" fmla="*/ 30 h 61"/>
              <a:gd name="T22" fmla="*/ 41 w 41"/>
              <a:gd name="T23" fmla="*/ 2 h 61"/>
              <a:gd name="T24" fmla="*/ 30 w 41"/>
              <a:gd name="T2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61">
                <a:moveTo>
                  <a:pt x="30" y="0"/>
                </a:moveTo>
                <a:cubicBezTo>
                  <a:pt x="27" y="0"/>
                  <a:pt x="24" y="1"/>
                  <a:pt x="21" y="2"/>
                </a:cubicBezTo>
                <a:cubicBezTo>
                  <a:pt x="21" y="8"/>
                  <a:pt x="20" y="14"/>
                  <a:pt x="20" y="21"/>
                </a:cubicBezTo>
                <a:cubicBezTo>
                  <a:pt x="1" y="21"/>
                  <a:pt x="1" y="21"/>
                  <a:pt x="1" y="21"/>
                </a:cubicBezTo>
                <a:cubicBezTo>
                  <a:pt x="0" y="24"/>
                  <a:pt x="0" y="27"/>
                  <a:pt x="0" y="30"/>
                </a:cubicBezTo>
                <a:cubicBezTo>
                  <a:pt x="0" y="34"/>
                  <a:pt x="0" y="37"/>
                  <a:pt x="1" y="40"/>
                </a:cubicBezTo>
                <a:cubicBezTo>
                  <a:pt x="20" y="40"/>
                  <a:pt x="20" y="40"/>
                  <a:pt x="20" y="40"/>
                </a:cubicBezTo>
                <a:cubicBezTo>
                  <a:pt x="20" y="47"/>
                  <a:pt x="21" y="53"/>
                  <a:pt x="21" y="59"/>
                </a:cubicBezTo>
                <a:cubicBezTo>
                  <a:pt x="24" y="60"/>
                  <a:pt x="27" y="61"/>
                  <a:pt x="30" y="61"/>
                </a:cubicBezTo>
                <a:cubicBezTo>
                  <a:pt x="34" y="61"/>
                  <a:pt x="38" y="60"/>
                  <a:pt x="41" y="59"/>
                </a:cubicBezTo>
                <a:cubicBezTo>
                  <a:pt x="40" y="49"/>
                  <a:pt x="40" y="40"/>
                  <a:pt x="40" y="30"/>
                </a:cubicBezTo>
                <a:cubicBezTo>
                  <a:pt x="40" y="21"/>
                  <a:pt x="40" y="12"/>
                  <a:pt x="41" y="2"/>
                </a:cubicBezTo>
                <a:cubicBezTo>
                  <a:pt x="38" y="1"/>
                  <a:pt x="34" y="0"/>
                  <a:pt x="30" y="0"/>
                </a:cubicBezTo>
              </a:path>
            </a:pathLst>
          </a:custGeom>
          <a:solidFill>
            <a:srgbClr val="373E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2" name="Oval 55">
            <a:extLst>
              <a:ext uri="{FF2B5EF4-FFF2-40B4-BE49-F238E27FC236}">
                <a16:creationId xmlns:a16="http://schemas.microsoft.com/office/drawing/2014/main" id="{3FCE177D-1E8B-443A-87BA-C07B04BAF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6894" y="4057650"/>
            <a:ext cx="90488" cy="85725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3" name="Oval 56">
            <a:extLst>
              <a:ext uri="{FF2B5EF4-FFF2-40B4-BE49-F238E27FC236}">
                <a16:creationId xmlns:a16="http://schemas.microsoft.com/office/drawing/2014/main" id="{568DE232-72AF-4C32-9B81-B86205CAA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694" y="3505200"/>
            <a:ext cx="90488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Oval 57">
            <a:extLst>
              <a:ext uri="{FF2B5EF4-FFF2-40B4-BE49-F238E27FC236}">
                <a16:creationId xmlns:a16="http://schemas.microsoft.com/office/drawing/2014/main" id="{37C034A1-1C47-476F-A2BF-8CCE2CE74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694" y="4606925"/>
            <a:ext cx="90488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5" name="Oval 58">
            <a:extLst>
              <a:ext uri="{FF2B5EF4-FFF2-40B4-BE49-F238E27FC236}">
                <a16:creationId xmlns:a16="http://schemas.microsoft.com/office/drawing/2014/main" id="{C0046E94-8F40-49B3-97E6-5FB23C3CF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1232" y="4054475"/>
            <a:ext cx="93663" cy="92075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6" name="Freeform 59">
            <a:extLst>
              <a:ext uri="{FF2B5EF4-FFF2-40B4-BE49-F238E27FC236}">
                <a16:creationId xmlns:a16="http://schemas.microsoft.com/office/drawing/2014/main" id="{9528D8DF-4AC0-46E7-952D-1163E213FC95}"/>
              </a:ext>
            </a:extLst>
          </p:cNvPr>
          <p:cNvSpPr>
            <a:spLocks noEditPoints="1"/>
          </p:cNvSpPr>
          <p:nvPr/>
        </p:nvSpPr>
        <p:spPr bwMode="auto">
          <a:xfrm>
            <a:off x="6135619" y="817563"/>
            <a:ext cx="819150" cy="725488"/>
          </a:xfrm>
          <a:custGeom>
            <a:avLst/>
            <a:gdLst>
              <a:gd name="T0" fmla="*/ 94 w 237"/>
              <a:gd name="T1" fmla="*/ 127 h 210"/>
              <a:gd name="T2" fmla="*/ 0 w 237"/>
              <a:gd name="T3" fmla="*/ 127 h 210"/>
              <a:gd name="T4" fmla="*/ 0 w 237"/>
              <a:gd name="T5" fmla="*/ 210 h 210"/>
              <a:gd name="T6" fmla="*/ 10 w 237"/>
              <a:gd name="T7" fmla="*/ 210 h 210"/>
              <a:gd name="T8" fmla="*/ 10 w 237"/>
              <a:gd name="T9" fmla="*/ 137 h 210"/>
              <a:gd name="T10" fmla="*/ 83 w 237"/>
              <a:gd name="T11" fmla="*/ 137 h 210"/>
              <a:gd name="T12" fmla="*/ 83 w 237"/>
              <a:gd name="T13" fmla="*/ 210 h 210"/>
              <a:gd name="T14" fmla="*/ 94 w 237"/>
              <a:gd name="T15" fmla="*/ 210 h 210"/>
              <a:gd name="T16" fmla="*/ 94 w 237"/>
              <a:gd name="T17" fmla="*/ 127 h 210"/>
              <a:gd name="T18" fmla="*/ 61 w 237"/>
              <a:gd name="T19" fmla="*/ 33 h 210"/>
              <a:gd name="T20" fmla="*/ 26 w 237"/>
              <a:gd name="T21" fmla="*/ 68 h 210"/>
              <a:gd name="T22" fmla="*/ 43 w 237"/>
              <a:gd name="T23" fmla="*/ 98 h 210"/>
              <a:gd name="T24" fmla="*/ 17 w 237"/>
              <a:gd name="T25" fmla="*/ 121 h 210"/>
              <a:gd name="T26" fmla="*/ 99 w 237"/>
              <a:gd name="T27" fmla="*/ 121 h 210"/>
              <a:gd name="T28" fmla="*/ 99 w 237"/>
              <a:gd name="T29" fmla="*/ 193 h 210"/>
              <a:gd name="T30" fmla="*/ 159 w 237"/>
              <a:gd name="T31" fmla="*/ 139 h 210"/>
              <a:gd name="T32" fmla="*/ 158 w 237"/>
              <a:gd name="T33" fmla="*/ 120 h 210"/>
              <a:gd name="T34" fmla="*/ 149 w 237"/>
              <a:gd name="T35" fmla="*/ 117 h 210"/>
              <a:gd name="T36" fmla="*/ 140 w 237"/>
              <a:gd name="T37" fmla="*/ 121 h 210"/>
              <a:gd name="T38" fmla="*/ 111 w 237"/>
              <a:gd name="T39" fmla="*/ 141 h 210"/>
              <a:gd name="T40" fmla="*/ 80 w 237"/>
              <a:gd name="T41" fmla="*/ 98 h 210"/>
              <a:gd name="T42" fmla="*/ 97 w 237"/>
              <a:gd name="T43" fmla="*/ 68 h 210"/>
              <a:gd name="T44" fmla="*/ 61 w 237"/>
              <a:gd name="T45" fmla="*/ 33 h 210"/>
              <a:gd name="T46" fmla="*/ 211 w 237"/>
              <a:gd name="T47" fmla="*/ 18 h 210"/>
              <a:gd name="T48" fmla="*/ 172 w 237"/>
              <a:gd name="T49" fmla="*/ 56 h 210"/>
              <a:gd name="T50" fmla="*/ 143 w 237"/>
              <a:gd name="T51" fmla="*/ 38 h 210"/>
              <a:gd name="T52" fmla="*/ 141 w 237"/>
              <a:gd name="T53" fmla="*/ 37 h 210"/>
              <a:gd name="T54" fmla="*/ 140 w 237"/>
              <a:gd name="T55" fmla="*/ 38 h 210"/>
              <a:gd name="T56" fmla="*/ 112 w 237"/>
              <a:gd name="T57" fmla="*/ 65 h 210"/>
              <a:gd name="T58" fmla="*/ 116 w 237"/>
              <a:gd name="T59" fmla="*/ 69 h 210"/>
              <a:gd name="T60" fmla="*/ 142 w 237"/>
              <a:gd name="T61" fmla="*/ 43 h 210"/>
              <a:gd name="T62" fmla="*/ 170 w 237"/>
              <a:gd name="T63" fmla="*/ 62 h 210"/>
              <a:gd name="T64" fmla="*/ 172 w 237"/>
              <a:gd name="T65" fmla="*/ 63 h 210"/>
              <a:gd name="T66" fmla="*/ 174 w 237"/>
              <a:gd name="T67" fmla="*/ 62 h 210"/>
              <a:gd name="T68" fmla="*/ 215 w 237"/>
              <a:gd name="T69" fmla="*/ 22 h 210"/>
              <a:gd name="T70" fmla="*/ 211 w 237"/>
              <a:gd name="T71" fmla="*/ 18 h 210"/>
              <a:gd name="T72" fmla="*/ 237 w 237"/>
              <a:gd name="T73" fmla="*/ 0 h 210"/>
              <a:gd name="T74" fmla="*/ 90 w 237"/>
              <a:gd name="T75" fmla="*/ 0 h 210"/>
              <a:gd name="T76" fmla="*/ 90 w 237"/>
              <a:gd name="T77" fmla="*/ 32 h 210"/>
              <a:gd name="T78" fmla="*/ 101 w 237"/>
              <a:gd name="T79" fmla="*/ 45 h 210"/>
              <a:gd name="T80" fmla="*/ 101 w 237"/>
              <a:gd name="T81" fmla="*/ 11 h 210"/>
              <a:gd name="T82" fmla="*/ 226 w 237"/>
              <a:gd name="T83" fmla="*/ 11 h 210"/>
              <a:gd name="T84" fmla="*/ 226 w 237"/>
              <a:gd name="T85" fmla="*/ 74 h 210"/>
              <a:gd name="T86" fmla="*/ 107 w 237"/>
              <a:gd name="T87" fmla="*/ 74 h 210"/>
              <a:gd name="T88" fmla="*/ 104 w 237"/>
              <a:gd name="T89" fmla="*/ 84 h 210"/>
              <a:gd name="T90" fmla="*/ 160 w 237"/>
              <a:gd name="T91" fmla="*/ 84 h 210"/>
              <a:gd name="T92" fmla="*/ 160 w 237"/>
              <a:gd name="T93" fmla="*/ 91 h 210"/>
              <a:gd name="T94" fmla="*/ 144 w 237"/>
              <a:gd name="T95" fmla="*/ 91 h 210"/>
              <a:gd name="T96" fmla="*/ 144 w 237"/>
              <a:gd name="T97" fmla="*/ 102 h 210"/>
              <a:gd name="T98" fmla="*/ 186 w 237"/>
              <a:gd name="T99" fmla="*/ 102 h 210"/>
              <a:gd name="T100" fmla="*/ 186 w 237"/>
              <a:gd name="T101" fmla="*/ 91 h 210"/>
              <a:gd name="T102" fmla="*/ 170 w 237"/>
              <a:gd name="T103" fmla="*/ 91 h 210"/>
              <a:gd name="T104" fmla="*/ 170 w 237"/>
              <a:gd name="T105" fmla="*/ 84 h 210"/>
              <a:gd name="T106" fmla="*/ 237 w 237"/>
              <a:gd name="T107" fmla="*/ 84 h 210"/>
              <a:gd name="T108" fmla="*/ 237 w 237"/>
              <a:gd name="T109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37" h="210">
                <a:moveTo>
                  <a:pt x="94" y="127"/>
                </a:moveTo>
                <a:cubicBezTo>
                  <a:pt x="0" y="127"/>
                  <a:pt x="0" y="127"/>
                  <a:pt x="0" y="127"/>
                </a:cubicBezTo>
                <a:cubicBezTo>
                  <a:pt x="0" y="210"/>
                  <a:pt x="0" y="210"/>
                  <a:pt x="0" y="210"/>
                </a:cubicBezTo>
                <a:cubicBezTo>
                  <a:pt x="10" y="210"/>
                  <a:pt x="10" y="210"/>
                  <a:pt x="10" y="210"/>
                </a:cubicBezTo>
                <a:cubicBezTo>
                  <a:pt x="10" y="137"/>
                  <a:pt x="10" y="137"/>
                  <a:pt x="10" y="137"/>
                </a:cubicBezTo>
                <a:cubicBezTo>
                  <a:pt x="83" y="137"/>
                  <a:pt x="83" y="137"/>
                  <a:pt x="83" y="137"/>
                </a:cubicBezTo>
                <a:cubicBezTo>
                  <a:pt x="83" y="210"/>
                  <a:pt x="83" y="210"/>
                  <a:pt x="83" y="210"/>
                </a:cubicBezTo>
                <a:cubicBezTo>
                  <a:pt x="94" y="210"/>
                  <a:pt x="94" y="210"/>
                  <a:pt x="94" y="210"/>
                </a:cubicBezTo>
                <a:cubicBezTo>
                  <a:pt x="94" y="127"/>
                  <a:pt x="94" y="127"/>
                  <a:pt x="94" y="127"/>
                </a:cubicBezTo>
                <a:moveTo>
                  <a:pt x="61" y="33"/>
                </a:moveTo>
                <a:cubicBezTo>
                  <a:pt x="42" y="33"/>
                  <a:pt x="26" y="49"/>
                  <a:pt x="26" y="68"/>
                </a:cubicBezTo>
                <a:cubicBezTo>
                  <a:pt x="26" y="81"/>
                  <a:pt x="33" y="92"/>
                  <a:pt x="43" y="98"/>
                </a:cubicBezTo>
                <a:cubicBezTo>
                  <a:pt x="33" y="103"/>
                  <a:pt x="24" y="112"/>
                  <a:pt x="17" y="121"/>
                </a:cubicBezTo>
                <a:cubicBezTo>
                  <a:pt x="99" y="121"/>
                  <a:pt x="99" y="121"/>
                  <a:pt x="99" y="121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159" y="139"/>
                  <a:pt x="159" y="139"/>
                  <a:pt x="159" y="139"/>
                </a:cubicBezTo>
                <a:cubicBezTo>
                  <a:pt x="164" y="134"/>
                  <a:pt x="164" y="125"/>
                  <a:pt x="158" y="120"/>
                </a:cubicBezTo>
                <a:cubicBezTo>
                  <a:pt x="156" y="118"/>
                  <a:pt x="153" y="117"/>
                  <a:pt x="149" y="117"/>
                </a:cubicBezTo>
                <a:cubicBezTo>
                  <a:pt x="146" y="117"/>
                  <a:pt x="142" y="118"/>
                  <a:pt x="140" y="121"/>
                </a:cubicBezTo>
                <a:cubicBezTo>
                  <a:pt x="111" y="141"/>
                  <a:pt x="111" y="141"/>
                  <a:pt x="111" y="141"/>
                </a:cubicBezTo>
                <a:cubicBezTo>
                  <a:pt x="108" y="125"/>
                  <a:pt x="99" y="109"/>
                  <a:pt x="80" y="98"/>
                </a:cubicBezTo>
                <a:cubicBezTo>
                  <a:pt x="90" y="92"/>
                  <a:pt x="97" y="81"/>
                  <a:pt x="97" y="68"/>
                </a:cubicBezTo>
                <a:cubicBezTo>
                  <a:pt x="97" y="49"/>
                  <a:pt x="81" y="33"/>
                  <a:pt x="61" y="33"/>
                </a:cubicBezTo>
                <a:moveTo>
                  <a:pt x="211" y="18"/>
                </a:moveTo>
                <a:cubicBezTo>
                  <a:pt x="172" y="56"/>
                  <a:pt x="172" y="56"/>
                  <a:pt x="172" y="56"/>
                </a:cubicBezTo>
                <a:cubicBezTo>
                  <a:pt x="143" y="38"/>
                  <a:pt x="143" y="38"/>
                  <a:pt x="143" y="38"/>
                </a:cubicBezTo>
                <a:cubicBezTo>
                  <a:pt x="141" y="37"/>
                  <a:pt x="141" y="37"/>
                  <a:pt x="141" y="37"/>
                </a:cubicBezTo>
                <a:cubicBezTo>
                  <a:pt x="140" y="38"/>
                  <a:pt x="140" y="38"/>
                  <a:pt x="140" y="38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6" y="69"/>
                  <a:pt x="116" y="69"/>
                  <a:pt x="116" y="69"/>
                </a:cubicBezTo>
                <a:cubicBezTo>
                  <a:pt x="142" y="43"/>
                  <a:pt x="142" y="43"/>
                  <a:pt x="142" y="43"/>
                </a:cubicBezTo>
                <a:cubicBezTo>
                  <a:pt x="170" y="62"/>
                  <a:pt x="170" y="62"/>
                  <a:pt x="170" y="62"/>
                </a:cubicBezTo>
                <a:cubicBezTo>
                  <a:pt x="172" y="63"/>
                  <a:pt x="172" y="63"/>
                  <a:pt x="172" y="63"/>
                </a:cubicBezTo>
                <a:cubicBezTo>
                  <a:pt x="174" y="62"/>
                  <a:pt x="174" y="62"/>
                  <a:pt x="174" y="62"/>
                </a:cubicBezTo>
                <a:cubicBezTo>
                  <a:pt x="215" y="22"/>
                  <a:pt x="215" y="22"/>
                  <a:pt x="215" y="22"/>
                </a:cubicBezTo>
                <a:cubicBezTo>
                  <a:pt x="211" y="18"/>
                  <a:pt x="211" y="18"/>
                  <a:pt x="211" y="18"/>
                </a:cubicBezTo>
                <a:moveTo>
                  <a:pt x="237" y="0"/>
                </a:moveTo>
                <a:cubicBezTo>
                  <a:pt x="90" y="0"/>
                  <a:pt x="90" y="0"/>
                  <a:pt x="90" y="0"/>
                </a:cubicBezTo>
                <a:cubicBezTo>
                  <a:pt x="90" y="32"/>
                  <a:pt x="90" y="32"/>
                  <a:pt x="90" y="32"/>
                </a:cubicBezTo>
                <a:cubicBezTo>
                  <a:pt x="94" y="36"/>
                  <a:pt x="98" y="40"/>
                  <a:pt x="101" y="45"/>
                </a:cubicBezTo>
                <a:cubicBezTo>
                  <a:pt x="101" y="11"/>
                  <a:pt x="101" y="11"/>
                  <a:pt x="101" y="11"/>
                </a:cubicBezTo>
                <a:cubicBezTo>
                  <a:pt x="226" y="11"/>
                  <a:pt x="226" y="11"/>
                  <a:pt x="226" y="11"/>
                </a:cubicBezTo>
                <a:cubicBezTo>
                  <a:pt x="226" y="74"/>
                  <a:pt x="226" y="74"/>
                  <a:pt x="226" y="74"/>
                </a:cubicBezTo>
                <a:cubicBezTo>
                  <a:pt x="107" y="74"/>
                  <a:pt x="107" y="74"/>
                  <a:pt x="107" y="74"/>
                </a:cubicBezTo>
                <a:cubicBezTo>
                  <a:pt x="106" y="77"/>
                  <a:pt x="106" y="81"/>
                  <a:pt x="10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0" y="91"/>
                  <a:pt x="160" y="91"/>
                  <a:pt x="160" y="91"/>
                </a:cubicBezTo>
                <a:cubicBezTo>
                  <a:pt x="144" y="91"/>
                  <a:pt x="144" y="91"/>
                  <a:pt x="144" y="91"/>
                </a:cubicBezTo>
                <a:cubicBezTo>
                  <a:pt x="144" y="102"/>
                  <a:pt x="144" y="102"/>
                  <a:pt x="144" y="102"/>
                </a:cubicBezTo>
                <a:cubicBezTo>
                  <a:pt x="186" y="102"/>
                  <a:pt x="186" y="102"/>
                  <a:pt x="186" y="102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70" y="91"/>
                  <a:pt x="170" y="91"/>
                  <a:pt x="170" y="91"/>
                </a:cubicBezTo>
                <a:cubicBezTo>
                  <a:pt x="170" y="84"/>
                  <a:pt x="170" y="84"/>
                  <a:pt x="170" y="84"/>
                </a:cubicBezTo>
                <a:cubicBezTo>
                  <a:pt x="237" y="84"/>
                  <a:pt x="237" y="84"/>
                  <a:pt x="237" y="84"/>
                </a:cubicBezTo>
                <a:cubicBezTo>
                  <a:pt x="237" y="0"/>
                  <a:pt x="237" y="0"/>
                  <a:pt x="237" y="0"/>
                </a:cubicBezTo>
              </a:path>
            </a:pathLst>
          </a:custGeom>
          <a:solidFill>
            <a:srgbClr val="8592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7" name="Freeform 60">
            <a:extLst>
              <a:ext uri="{FF2B5EF4-FFF2-40B4-BE49-F238E27FC236}">
                <a16:creationId xmlns:a16="http://schemas.microsoft.com/office/drawing/2014/main" id="{B5994685-CE1A-41F3-9BC2-587CA8E26E46}"/>
              </a:ext>
            </a:extLst>
          </p:cNvPr>
          <p:cNvSpPr>
            <a:spLocks noEditPoints="1"/>
          </p:cNvSpPr>
          <p:nvPr/>
        </p:nvSpPr>
        <p:spPr bwMode="auto">
          <a:xfrm>
            <a:off x="6157844" y="2271713"/>
            <a:ext cx="711200" cy="742950"/>
          </a:xfrm>
          <a:custGeom>
            <a:avLst/>
            <a:gdLst>
              <a:gd name="T0" fmla="*/ 173 w 206"/>
              <a:gd name="T1" fmla="*/ 109 h 215"/>
              <a:gd name="T2" fmla="*/ 115 w 206"/>
              <a:gd name="T3" fmla="*/ 124 h 215"/>
              <a:gd name="T4" fmla="*/ 129 w 206"/>
              <a:gd name="T5" fmla="*/ 138 h 215"/>
              <a:gd name="T6" fmla="*/ 67 w 206"/>
              <a:gd name="T7" fmla="*/ 200 h 215"/>
              <a:gd name="T8" fmla="*/ 82 w 206"/>
              <a:gd name="T9" fmla="*/ 215 h 215"/>
              <a:gd name="T10" fmla="*/ 144 w 206"/>
              <a:gd name="T11" fmla="*/ 153 h 215"/>
              <a:gd name="T12" fmla="*/ 153 w 206"/>
              <a:gd name="T13" fmla="*/ 161 h 215"/>
              <a:gd name="T14" fmla="*/ 157 w 206"/>
              <a:gd name="T15" fmla="*/ 166 h 215"/>
              <a:gd name="T16" fmla="*/ 173 w 206"/>
              <a:gd name="T17" fmla="*/ 109 h 215"/>
              <a:gd name="T18" fmla="*/ 68 w 206"/>
              <a:gd name="T19" fmla="*/ 99 h 215"/>
              <a:gd name="T20" fmla="*/ 20 w 206"/>
              <a:gd name="T21" fmla="*/ 111 h 215"/>
              <a:gd name="T22" fmla="*/ 32 w 206"/>
              <a:gd name="T23" fmla="*/ 123 h 215"/>
              <a:gd name="T24" fmla="*/ 1 w 206"/>
              <a:gd name="T25" fmla="*/ 154 h 215"/>
              <a:gd name="T26" fmla="*/ 13 w 206"/>
              <a:gd name="T27" fmla="*/ 166 h 215"/>
              <a:gd name="T28" fmla="*/ 44 w 206"/>
              <a:gd name="T29" fmla="*/ 135 h 215"/>
              <a:gd name="T30" fmla="*/ 51 w 206"/>
              <a:gd name="T31" fmla="*/ 142 h 215"/>
              <a:gd name="T32" fmla="*/ 55 w 206"/>
              <a:gd name="T33" fmla="*/ 146 h 215"/>
              <a:gd name="T34" fmla="*/ 68 w 206"/>
              <a:gd name="T35" fmla="*/ 99 h 215"/>
              <a:gd name="T36" fmla="*/ 106 w 206"/>
              <a:gd name="T37" fmla="*/ 26 h 215"/>
              <a:gd name="T38" fmla="*/ 48 w 206"/>
              <a:gd name="T39" fmla="*/ 41 h 215"/>
              <a:gd name="T40" fmla="*/ 62 w 206"/>
              <a:gd name="T41" fmla="*/ 56 h 215"/>
              <a:gd name="T42" fmla="*/ 0 w 206"/>
              <a:gd name="T43" fmla="*/ 118 h 215"/>
              <a:gd name="T44" fmla="*/ 15 w 206"/>
              <a:gd name="T45" fmla="*/ 132 h 215"/>
              <a:gd name="T46" fmla="*/ 25 w 206"/>
              <a:gd name="T47" fmla="*/ 123 h 215"/>
              <a:gd name="T48" fmla="*/ 10 w 206"/>
              <a:gd name="T49" fmla="*/ 109 h 215"/>
              <a:gd name="T50" fmla="*/ 49 w 206"/>
              <a:gd name="T51" fmla="*/ 99 h 215"/>
              <a:gd name="T52" fmla="*/ 77 w 206"/>
              <a:gd name="T53" fmla="*/ 70 h 215"/>
              <a:gd name="T54" fmla="*/ 86 w 206"/>
              <a:gd name="T55" fmla="*/ 79 h 215"/>
              <a:gd name="T56" fmla="*/ 91 w 206"/>
              <a:gd name="T57" fmla="*/ 84 h 215"/>
              <a:gd name="T58" fmla="*/ 106 w 206"/>
              <a:gd name="T59" fmla="*/ 26 h 215"/>
              <a:gd name="T60" fmla="*/ 206 w 206"/>
              <a:gd name="T61" fmla="*/ 0 h 215"/>
              <a:gd name="T62" fmla="*/ 125 w 206"/>
              <a:gd name="T63" fmla="*/ 21 h 215"/>
              <a:gd name="T64" fmla="*/ 144 w 206"/>
              <a:gd name="T65" fmla="*/ 41 h 215"/>
              <a:gd name="T66" fmla="*/ 68 w 206"/>
              <a:gd name="T67" fmla="*/ 118 h 215"/>
              <a:gd name="T68" fmla="*/ 64 w 206"/>
              <a:gd name="T69" fmla="*/ 134 h 215"/>
              <a:gd name="T70" fmla="*/ 78 w 206"/>
              <a:gd name="T71" fmla="*/ 149 h 215"/>
              <a:gd name="T72" fmla="*/ 165 w 206"/>
              <a:gd name="T73" fmla="*/ 62 h 215"/>
              <a:gd name="T74" fmla="*/ 177 w 206"/>
              <a:gd name="T75" fmla="*/ 74 h 215"/>
              <a:gd name="T76" fmla="*/ 184 w 206"/>
              <a:gd name="T77" fmla="*/ 81 h 215"/>
              <a:gd name="T78" fmla="*/ 206 w 206"/>
              <a:gd name="T79" fmla="*/ 0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6" h="215">
                <a:moveTo>
                  <a:pt x="173" y="109"/>
                </a:moveTo>
                <a:cubicBezTo>
                  <a:pt x="115" y="124"/>
                  <a:pt x="115" y="124"/>
                  <a:pt x="115" y="124"/>
                </a:cubicBezTo>
                <a:cubicBezTo>
                  <a:pt x="129" y="138"/>
                  <a:pt x="129" y="138"/>
                  <a:pt x="129" y="138"/>
                </a:cubicBezTo>
                <a:cubicBezTo>
                  <a:pt x="67" y="200"/>
                  <a:pt x="67" y="200"/>
                  <a:pt x="67" y="200"/>
                </a:cubicBezTo>
                <a:cubicBezTo>
                  <a:pt x="82" y="215"/>
                  <a:pt x="82" y="215"/>
                  <a:pt x="82" y="215"/>
                </a:cubicBezTo>
                <a:cubicBezTo>
                  <a:pt x="144" y="153"/>
                  <a:pt x="144" y="153"/>
                  <a:pt x="144" y="153"/>
                </a:cubicBezTo>
                <a:cubicBezTo>
                  <a:pt x="153" y="161"/>
                  <a:pt x="153" y="161"/>
                  <a:pt x="153" y="161"/>
                </a:cubicBezTo>
                <a:cubicBezTo>
                  <a:pt x="157" y="166"/>
                  <a:pt x="157" y="166"/>
                  <a:pt x="157" y="166"/>
                </a:cubicBezTo>
                <a:cubicBezTo>
                  <a:pt x="173" y="109"/>
                  <a:pt x="173" y="109"/>
                  <a:pt x="173" y="109"/>
                </a:cubicBezTo>
                <a:moveTo>
                  <a:pt x="68" y="99"/>
                </a:moveTo>
                <a:cubicBezTo>
                  <a:pt x="20" y="111"/>
                  <a:pt x="20" y="111"/>
                  <a:pt x="20" y="111"/>
                </a:cubicBezTo>
                <a:cubicBezTo>
                  <a:pt x="32" y="123"/>
                  <a:pt x="32" y="123"/>
                  <a:pt x="32" y="123"/>
                </a:cubicBezTo>
                <a:cubicBezTo>
                  <a:pt x="1" y="154"/>
                  <a:pt x="1" y="154"/>
                  <a:pt x="1" y="154"/>
                </a:cubicBezTo>
                <a:cubicBezTo>
                  <a:pt x="13" y="166"/>
                  <a:pt x="13" y="166"/>
                  <a:pt x="13" y="166"/>
                </a:cubicBezTo>
                <a:cubicBezTo>
                  <a:pt x="44" y="135"/>
                  <a:pt x="44" y="135"/>
                  <a:pt x="44" y="135"/>
                </a:cubicBezTo>
                <a:cubicBezTo>
                  <a:pt x="51" y="142"/>
                  <a:pt x="51" y="142"/>
                  <a:pt x="51" y="142"/>
                </a:cubicBezTo>
                <a:cubicBezTo>
                  <a:pt x="55" y="146"/>
                  <a:pt x="55" y="146"/>
                  <a:pt x="55" y="146"/>
                </a:cubicBezTo>
                <a:cubicBezTo>
                  <a:pt x="68" y="99"/>
                  <a:pt x="68" y="99"/>
                  <a:pt x="68" y="99"/>
                </a:cubicBezTo>
                <a:moveTo>
                  <a:pt x="106" y="26"/>
                </a:moveTo>
                <a:cubicBezTo>
                  <a:pt x="48" y="41"/>
                  <a:pt x="48" y="41"/>
                  <a:pt x="48" y="41"/>
                </a:cubicBezTo>
                <a:cubicBezTo>
                  <a:pt x="62" y="56"/>
                  <a:pt x="62" y="56"/>
                  <a:pt x="62" y="56"/>
                </a:cubicBezTo>
                <a:cubicBezTo>
                  <a:pt x="0" y="118"/>
                  <a:pt x="0" y="118"/>
                  <a:pt x="0" y="118"/>
                </a:cubicBezTo>
                <a:cubicBezTo>
                  <a:pt x="15" y="132"/>
                  <a:pt x="15" y="132"/>
                  <a:pt x="15" y="132"/>
                </a:cubicBezTo>
                <a:cubicBezTo>
                  <a:pt x="25" y="123"/>
                  <a:pt x="25" y="123"/>
                  <a:pt x="25" y="123"/>
                </a:cubicBezTo>
                <a:cubicBezTo>
                  <a:pt x="21" y="119"/>
                  <a:pt x="10" y="109"/>
                  <a:pt x="10" y="109"/>
                </a:cubicBezTo>
                <a:cubicBezTo>
                  <a:pt x="49" y="99"/>
                  <a:pt x="49" y="99"/>
                  <a:pt x="49" y="99"/>
                </a:cubicBezTo>
                <a:cubicBezTo>
                  <a:pt x="77" y="70"/>
                  <a:pt x="77" y="70"/>
                  <a:pt x="77" y="70"/>
                </a:cubicBezTo>
                <a:cubicBezTo>
                  <a:pt x="86" y="79"/>
                  <a:pt x="86" y="79"/>
                  <a:pt x="86" y="79"/>
                </a:cubicBezTo>
                <a:cubicBezTo>
                  <a:pt x="91" y="84"/>
                  <a:pt x="91" y="84"/>
                  <a:pt x="91" y="84"/>
                </a:cubicBezTo>
                <a:cubicBezTo>
                  <a:pt x="106" y="26"/>
                  <a:pt x="106" y="26"/>
                  <a:pt x="106" y="26"/>
                </a:cubicBezTo>
                <a:moveTo>
                  <a:pt x="206" y="0"/>
                </a:moveTo>
                <a:cubicBezTo>
                  <a:pt x="125" y="21"/>
                  <a:pt x="125" y="21"/>
                  <a:pt x="125" y="21"/>
                </a:cubicBezTo>
                <a:cubicBezTo>
                  <a:pt x="144" y="41"/>
                  <a:pt x="144" y="41"/>
                  <a:pt x="144" y="41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4" y="134"/>
                  <a:pt x="64" y="134"/>
                  <a:pt x="64" y="134"/>
                </a:cubicBezTo>
                <a:cubicBezTo>
                  <a:pt x="78" y="149"/>
                  <a:pt x="78" y="149"/>
                  <a:pt x="78" y="149"/>
                </a:cubicBezTo>
                <a:cubicBezTo>
                  <a:pt x="165" y="62"/>
                  <a:pt x="165" y="62"/>
                  <a:pt x="165" y="62"/>
                </a:cubicBezTo>
                <a:cubicBezTo>
                  <a:pt x="177" y="74"/>
                  <a:pt x="177" y="74"/>
                  <a:pt x="177" y="74"/>
                </a:cubicBezTo>
                <a:cubicBezTo>
                  <a:pt x="184" y="81"/>
                  <a:pt x="184" y="81"/>
                  <a:pt x="184" y="81"/>
                </a:cubicBezTo>
                <a:cubicBezTo>
                  <a:pt x="206" y="0"/>
                  <a:pt x="206" y="0"/>
                  <a:pt x="206" y="0"/>
                </a:cubicBezTo>
              </a:path>
            </a:pathLst>
          </a:custGeom>
          <a:solidFill>
            <a:srgbClr val="8592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8" name="Freeform 61">
            <a:extLst>
              <a:ext uri="{FF2B5EF4-FFF2-40B4-BE49-F238E27FC236}">
                <a16:creationId xmlns:a16="http://schemas.microsoft.com/office/drawing/2014/main" id="{7775F1AB-0ABE-4905-B1E8-99B7BA0EA489}"/>
              </a:ext>
            </a:extLst>
          </p:cNvPr>
          <p:cNvSpPr>
            <a:spLocks noEditPoints="1"/>
          </p:cNvSpPr>
          <p:nvPr/>
        </p:nvSpPr>
        <p:spPr bwMode="auto">
          <a:xfrm>
            <a:off x="6076882" y="3719513"/>
            <a:ext cx="877888" cy="731838"/>
          </a:xfrm>
          <a:custGeom>
            <a:avLst/>
            <a:gdLst>
              <a:gd name="T0" fmla="*/ 82 w 254"/>
              <a:gd name="T1" fmla="*/ 182 h 212"/>
              <a:gd name="T2" fmla="*/ 83 w 254"/>
              <a:gd name="T3" fmla="*/ 77 h 212"/>
              <a:gd name="T4" fmla="*/ 135 w 254"/>
              <a:gd name="T5" fmla="*/ 131 h 212"/>
              <a:gd name="T6" fmla="*/ 72 w 254"/>
              <a:gd name="T7" fmla="*/ 47 h 212"/>
              <a:gd name="T8" fmla="*/ 46 w 254"/>
              <a:gd name="T9" fmla="*/ 72 h 212"/>
              <a:gd name="T10" fmla="*/ 16 w 254"/>
              <a:gd name="T11" fmla="*/ 79 h 212"/>
              <a:gd name="T12" fmla="*/ 16 w 254"/>
              <a:gd name="T13" fmla="*/ 115 h 212"/>
              <a:gd name="T14" fmla="*/ 0 w 254"/>
              <a:gd name="T15" fmla="*/ 141 h 212"/>
              <a:gd name="T16" fmla="*/ 26 w 254"/>
              <a:gd name="T17" fmla="*/ 167 h 212"/>
              <a:gd name="T18" fmla="*/ 32 w 254"/>
              <a:gd name="T19" fmla="*/ 196 h 212"/>
              <a:gd name="T20" fmla="*/ 69 w 254"/>
              <a:gd name="T21" fmla="*/ 197 h 212"/>
              <a:gd name="T22" fmla="*/ 94 w 254"/>
              <a:gd name="T23" fmla="*/ 212 h 212"/>
              <a:gd name="T24" fmla="*/ 120 w 254"/>
              <a:gd name="T25" fmla="*/ 187 h 212"/>
              <a:gd name="T26" fmla="*/ 150 w 254"/>
              <a:gd name="T27" fmla="*/ 180 h 212"/>
              <a:gd name="T28" fmla="*/ 150 w 254"/>
              <a:gd name="T29" fmla="*/ 144 h 212"/>
              <a:gd name="T30" fmla="*/ 166 w 254"/>
              <a:gd name="T31" fmla="*/ 118 h 212"/>
              <a:gd name="T32" fmla="*/ 140 w 254"/>
              <a:gd name="T33" fmla="*/ 92 h 212"/>
              <a:gd name="T34" fmla="*/ 134 w 254"/>
              <a:gd name="T35" fmla="*/ 63 h 212"/>
              <a:gd name="T36" fmla="*/ 97 w 254"/>
              <a:gd name="T37" fmla="*/ 63 h 212"/>
              <a:gd name="T38" fmla="*/ 72 w 254"/>
              <a:gd name="T39" fmla="*/ 47 h 212"/>
              <a:gd name="T40" fmla="*/ 197 w 254"/>
              <a:gd name="T41" fmla="*/ 92 h 212"/>
              <a:gd name="T42" fmla="*/ 198 w 254"/>
              <a:gd name="T43" fmla="*/ 21 h 212"/>
              <a:gd name="T44" fmla="*/ 233 w 254"/>
              <a:gd name="T45" fmla="*/ 57 h 212"/>
              <a:gd name="T46" fmla="*/ 190 w 254"/>
              <a:gd name="T47" fmla="*/ 0 h 212"/>
              <a:gd name="T48" fmla="*/ 173 w 254"/>
              <a:gd name="T49" fmla="*/ 18 h 212"/>
              <a:gd name="T50" fmla="*/ 153 w 254"/>
              <a:gd name="T51" fmla="*/ 22 h 212"/>
              <a:gd name="T52" fmla="*/ 152 w 254"/>
              <a:gd name="T53" fmla="*/ 47 h 212"/>
              <a:gd name="T54" fmla="*/ 142 w 254"/>
              <a:gd name="T55" fmla="*/ 64 h 212"/>
              <a:gd name="T56" fmla="*/ 159 w 254"/>
              <a:gd name="T57" fmla="*/ 82 h 212"/>
              <a:gd name="T58" fmla="*/ 164 w 254"/>
              <a:gd name="T59" fmla="*/ 102 h 212"/>
              <a:gd name="T60" fmla="*/ 188 w 254"/>
              <a:gd name="T61" fmla="*/ 102 h 212"/>
              <a:gd name="T62" fmla="*/ 206 w 254"/>
              <a:gd name="T63" fmla="*/ 113 h 212"/>
              <a:gd name="T64" fmla="*/ 223 w 254"/>
              <a:gd name="T65" fmla="*/ 96 h 212"/>
              <a:gd name="T66" fmla="*/ 243 w 254"/>
              <a:gd name="T67" fmla="*/ 91 h 212"/>
              <a:gd name="T68" fmla="*/ 243 w 254"/>
              <a:gd name="T69" fmla="*/ 66 h 212"/>
              <a:gd name="T70" fmla="*/ 254 w 254"/>
              <a:gd name="T71" fmla="*/ 49 h 212"/>
              <a:gd name="T72" fmla="*/ 237 w 254"/>
              <a:gd name="T73" fmla="*/ 31 h 212"/>
              <a:gd name="T74" fmla="*/ 232 w 254"/>
              <a:gd name="T75" fmla="*/ 11 h 212"/>
              <a:gd name="T76" fmla="*/ 208 w 254"/>
              <a:gd name="T77" fmla="*/ 11 h 212"/>
              <a:gd name="T78" fmla="*/ 190 w 254"/>
              <a:gd name="T79" fmla="*/ 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4" h="212">
                <a:moveTo>
                  <a:pt x="83" y="182"/>
                </a:moveTo>
                <a:cubicBezTo>
                  <a:pt x="83" y="182"/>
                  <a:pt x="82" y="182"/>
                  <a:pt x="82" y="182"/>
                </a:cubicBezTo>
                <a:cubicBezTo>
                  <a:pt x="53" y="181"/>
                  <a:pt x="30" y="157"/>
                  <a:pt x="31" y="129"/>
                </a:cubicBezTo>
                <a:cubicBezTo>
                  <a:pt x="31" y="100"/>
                  <a:pt x="55" y="77"/>
                  <a:pt x="83" y="77"/>
                </a:cubicBezTo>
                <a:cubicBezTo>
                  <a:pt x="83" y="77"/>
                  <a:pt x="84" y="77"/>
                  <a:pt x="84" y="77"/>
                </a:cubicBezTo>
                <a:cubicBezTo>
                  <a:pt x="113" y="78"/>
                  <a:pt x="136" y="102"/>
                  <a:pt x="135" y="131"/>
                </a:cubicBezTo>
                <a:cubicBezTo>
                  <a:pt x="135" y="159"/>
                  <a:pt x="111" y="182"/>
                  <a:pt x="83" y="182"/>
                </a:cubicBezTo>
                <a:moveTo>
                  <a:pt x="72" y="47"/>
                </a:moveTo>
                <a:cubicBezTo>
                  <a:pt x="71" y="62"/>
                  <a:pt x="71" y="62"/>
                  <a:pt x="71" y="62"/>
                </a:cubicBezTo>
                <a:cubicBezTo>
                  <a:pt x="62" y="64"/>
                  <a:pt x="53" y="67"/>
                  <a:pt x="46" y="72"/>
                </a:cubicBezTo>
                <a:cubicBezTo>
                  <a:pt x="35" y="61"/>
                  <a:pt x="35" y="61"/>
                  <a:pt x="35" y="61"/>
                </a:cubicBezTo>
                <a:cubicBezTo>
                  <a:pt x="16" y="79"/>
                  <a:pt x="16" y="79"/>
                  <a:pt x="16" y="79"/>
                </a:cubicBezTo>
                <a:cubicBezTo>
                  <a:pt x="27" y="90"/>
                  <a:pt x="27" y="90"/>
                  <a:pt x="27" y="90"/>
                </a:cubicBezTo>
                <a:cubicBezTo>
                  <a:pt x="22" y="98"/>
                  <a:pt x="18" y="106"/>
                  <a:pt x="16" y="115"/>
                </a:cubicBezTo>
                <a:cubicBezTo>
                  <a:pt x="1" y="115"/>
                  <a:pt x="1" y="115"/>
                  <a:pt x="1" y="115"/>
                </a:cubicBezTo>
                <a:cubicBezTo>
                  <a:pt x="0" y="141"/>
                  <a:pt x="0" y="141"/>
                  <a:pt x="0" y="141"/>
                </a:cubicBezTo>
                <a:cubicBezTo>
                  <a:pt x="15" y="141"/>
                  <a:pt x="15" y="141"/>
                  <a:pt x="15" y="141"/>
                </a:cubicBezTo>
                <a:cubicBezTo>
                  <a:pt x="17" y="151"/>
                  <a:pt x="21" y="159"/>
                  <a:pt x="26" y="167"/>
                </a:cubicBezTo>
                <a:cubicBezTo>
                  <a:pt x="15" y="178"/>
                  <a:pt x="15" y="178"/>
                  <a:pt x="15" y="178"/>
                </a:cubicBezTo>
                <a:cubicBezTo>
                  <a:pt x="32" y="196"/>
                  <a:pt x="32" y="196"/>
                  <a:pt x="32" y="196"/>
                </a:cubicBezTo>
                <a:cubicBezTo>
                  <a:pt x="43" y="186"/>
                  <a:pt x="43" y="186"/>
                  <a:pt x="43" y="186"/>
                </a:cubicBezTo>
                <a:cubicBezTo>
                  <a:pt x="51" y="191"/>
                  <a:pt x="60" y="195"/>
                  <a:pt x="69" y="197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94" y="212"/>
                  <a:pt x="94" y="212"/>
                  <a:pt x="94" y="212"/>
                </a:cubicBezTo>
                <a:cubicBezTo>
                  <a:pt x="95" y="197"/>
                  <a:pt x="95" y="197"/>
                  <a:pt x="95" y="197"/>
                </a:cubicBezTo>
                <a:cubicBezTo>
                  <a:pt x="104" y="196"/>
                  <a:pt x="113" y="192"/>
                  <a:pt x="120" y="187"/>
                </a:cubicBezTo>
                <a:cubicBezTo>
                  <a:pt x="131" y="198"/>
                  <a:pt x="131" y="198"/>
                  <a:pt x="131" y="198"/>
                </a:cubicBezTo>
                <a:cubicBezTo>
                  <a:pt x="150" y="180"/>
                  <a:pt x="150" y="180"/>
                  <a:pt x="150" y="180"/>
                </a:cubicBezTo>
                <a:cubicBezTo>
                  <a:pt x="139" y="169"/>
                  <a:pt x="139" y="169"/>
                  <a:pt x="139" y="169"/>
                </a:cubicBezTo>
                <a:cubicBezTo>
                  <a:pt x="144" y="162"/>
                  <a:pt x="148" y="153"/>
                  <a:pt x="150" y="144"/>
                </a:cubicBezTo>
                <a:cubicBezTo>
                  <a:pt x="165" y="144"/>
                  <a:pt x="165" y="144"/>
                  <a:pt x="165" y="144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51" y="118"/>
                  <a:pt x="151" y="118"/>
                  <a:pt x="151" y="118"/>
                </a:cubicBezTo>
                <a:cubicBezTo>
                  <a:pt x="149" y="109"/>
                  <a:pt x="145" y="100"/>
                  <a:pt x="140" y="92"/>
                </a:cubicBezTo>
                <a:cubicBezTo>
                  <a:pt x="151" y="82"/>
                  <a:pt x="151" y="82"/>
                  <a:pt x="151" y="82"/>
                </a:cubicBezTo>
                <a:cubicBezTo>
                  <a:pt x="134" y="63"/>
                  <a:pt x="134" y="63"/>
                  <a:pt x="134" y="63"/>
                </a:cubicBezTo>
                <a:cubicBezTo>
                  <a:pt x="123" y="74"/>
                  <a:pt x="123" y="74"/>
                  <a:pt x="123" y="74"/>
                </a:cubicBezTo>
                <a:cubicBezTo>
                  <a:pt x="115" y="68"/>
                  <a:pt x="106" y="65"/>
                  <a:pt x="97" y="63"/>
                </a:cubicBezTo>
                <a:cubicBezTo>
                  <a:pt x="97" y="47"/>
                  <a:pt x="97" y="47"/>
                  <a:pt x="97" y="47"/>
                </a:cubicBezTo>
                <a:cubicBezTo>
                  <a:pt x="72" y="47"/>
                  <a:pt x="72" y="47"/>
                  <a:pt x="72" y="47"/>
                </a:cubicBezTo>
                <a:moveTo>
                  <a:pt x="198" y="92"/>
                </a:moveTo>
                <a:cubicBezTo>
                  <a:pt x="198" y="92"/>
                  <a:pt x="197" y="92"/>
                  <a:pt x="197" y="92"/>
                </a:cubicBezTo>
                <a:cubicBezTo>
                  <a:pt x="178" y="92"/>
                  <a:pt x="162" y="75"/>
                  <a:pt x="162" y="56"/>
                </a:cubicBezTo>
                <a:cubicBezTo>
                  <a:pt x="163" y="37"/>
                  <a:pt x="179" y="21"/>
                  <a:pt x="198" y="21"/>
                </a:cubicBezTo>
                <a:cubicBezTo>
                  <a:pt x="198" y="21"/>
                  <a:pt x="198" y="21"/>
                  <a:pt x="199" y="21"/>
                </a:cubicBezTo>
                <a:cubicBezTo>
                  <a:pt x="218" y="21"/>
                  <a:pt x="234" y="38"/>
                  <a:pt x="233" y="57"/>
                </a:cubicBezTo>
                <a:cubicBezTo>
                  <a:pt x="233" y="77"/>
                  <a:pt x="217" y="92"/>
                  <a:pt x="198" y="92"/>
                </a:cubicBezTo>
                <a:moveTo>
                  <a:pt x="190" y="0"/>
                </a:moveTo>
                <a:cubicBezTo>
                  <a:pt x="190" y="11"/>
                  <a:pt x="190" y="11"/>
                  <a:pt x="190" y="11"/>
                </a:cubicBezTo>
                <a:cubicBezTo>
                  <a:pt x="184" y="12"/>
                  <a:pt x="178" y="14"/>
                  <a:pt x="173" y="18"/>
                </a:cubicBezTo>
                <a:cubicBezTo>
                  <a:pt x="165" y="10"/>
                  <a:pt x="165" y="10"/>
                  <a:pt x="165" y="10"/>
                </a:cubicBezTo>
                <a:cubicBezTo>
                  <a:pt x="153" y="22"/>
                  <a:pt x="153" y="22"/>
                  <a:pt x="153" y="22"/>
                </a:cubicBezTo>
                <a:cubicBezTo>
                  <a:pt x="160" y="30"/>
                  <a:pt x="160" y="30"/>
                  <a:pt x="160" y="30"/>
                </a:cubicBezTo>
                <a:cubicBezTo>
                  <a:pt x="156" y="35"/>
                  <a:pt x="154" y="41"/>
                  <a:pt x="152" y="47"/>
                </a:cubicBezTo>
                <a:cubicBezTo>
                  <a:pt x="142" y="47"/>
                  <a:pt x="142" y="47"/>
                  <a:pt x="142" y="47"/>
                </a:cubicBezTo>
                <a:cubicBezTo>
                  <a:pt x="142" y="64"/>
                  <a:pt x="142" y="64"/>
                  <a:pt x="142" y="64"/>
                </a:cubicBezTo>
                <a:cubicBezTo>
                  <a:pt x="152" y="64"/>
                  <a:pt x="152" y="64"/>
                  <a:pt x="152" y="64"/>
                </a:cubicBezTo>
                <a:cubicBezTo>
                  <a:pt x="153" y="71"/>
                  <a:pt x="156" y="77"/>
                  <a:pt x="159" y="82"/>
                </a:cubicBezTo>
                <a:cubicBezTo>
                  <a:pt x="151" y="89"/>
                  <a:pt x="151" y="89"/>
                  <a:pt x="151" y="89"/>
                </a:cubicBezTo>
                <a:cubicBezTo>
                  <a:pt x="164" y="102"/>
                  <a:pt x="164" y="102"/>
                  <a:pt x="164" y="102"/>
                </a:cubicBezTo>
                <a:cubicBezTo>
                  <a:pt x="171" y="95"/>
                  <a:pt x="171" y="95"/>
                  <a:pt x="171" y="95"/>
                </a:cubicBezTo>
                <a:cubicBezTo>
                  <a:pt x="176" y="98"/>
                  <a:pt x="182" y="101"/>
                  <a:pt x="188" y="102"/>
                </a:cubicBezTo>
                <a:cubicBezTo>
                  <a:pt x="188" y="112"/>
                  <a:pt x="188" y="112"/>
                  <a:pt x="188" y="112"/>
                </a:cubicBezTo>
                <a:cubicBezTo>
                  <a:pt x="206" y="113"/>
                  <a:pt x="206" y="113"/>
                  <a:pt x="206" y="113"/>
                </a:cubicBezTo>
                <a:cubicBezTo>
                  <a:pt x="206" y="102"/>
                  <a:pt x="206" y="102"/>
                  <a:pt x="206" y="102"/>
                </a:cubicBezTo>
                <a:cubicBezTo>
                  <a:pt x="212" y="101"/>
                  <a:pt x="218" y="99"/>
                  <a:pt x="223" y="96"/>
                </a:cubicBezTo>
                <a:cubicBezTo>
                  <a:pt x="231" y="103"/>
                  <a:pt x="231" y="103"/>
                  <a:pt x="231" y="103"/>
                </a:cubicBezTo>
                <a:cubicBezTo>
                  <a:pt x="243" y="91"/>
                  <a:pt x="243" y="91"/>
                  <a:pt x="243" y="91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40" y="78"/>
                  <a:pt x="242" y="72"/>
                  <a:pt x="243" y="66"/>
                </a:cubicBezTo>
                <a:cubicBezTo>
                  <a:pt x="254" y="66"/>
                  <a:pt x="254" y="66"/>
                  <a:pt x="254" y="66"/>
                </a:cubicBezTo>
                <a:cubicBezTo>
                  <a:pt x="254" y="49"/>
                  <a:pt x="254" y="49"/>
                  <a:pt x="254" y="49"/>
                </a:cubicBezTo>
                <a:cubicBezTo>
                  <a:pt x="244" y="49"/>
                  <a:pt x="244" y="49"/>
                  <a:pt x="244" y="49"/>
                </a:cubicBezTo>
                <a:cubicBezTo>
                  <a:pt x="243" y="42"/>
                  <a:pt x="240" y="36"/>
                  <a:pt x="237" y="31"/>
                </a:cubicBezTo>
                <a:cubicBezTo>
                  <a:pt x="244" y="24"/>
                  <a:pt x="244" y="24"/>
                  <a:pt x="244" y="24"/>
                </a:cubicBezTo>
                <a:cubicBezTo>
                  <a:pt x="232" y="11"/>
                  <a:pt x="232" y="11"/>
                  <a:pt x="232" y="11"/>
                </a:cubicBezTo>
                <a:cubicBezTo>
                  <a:pt x="225" y="19"/>
                  <a:pt x="225" y="19"/>
                  <a:pt x="225" y="19"/>
                </a:cubicBezTo>
                <a:cubicBezTo>
                  <a:pt x="220" y="15"/>
                  <a:pt x="214" y="12"/>
                  <a:pt x="208" y="11"/>
                </a:cubicBezTo>
                <a:cubicBezTo>
                  <a:pt x="208" y="1"/>
                  <a:pt x="208" y="1"/>
                  <a:pt x="208" y="1"/>
                </a:cubicBezTo>
                <a:cubicBezTo>
                  <a:pt x="190" y="0"/>
                  <a:pt x="190" y="0"/>
                  <a:pt x="190" y="0"/>
                </a:cubicBezTo>
              </a:path>
            </a:pathLst>
          </a:custGeom>
          <a:solidFill>
            <a:srgbClr val="8592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9" name="Freeform 62">
            <a:extLst>
              <a:ext uri="{FF2B5EF4-FFF2-40B4-BE49-F238E27FC236}">
                <a16:creationId xmlns:a16="http://schemas.microsoft.com/office/drawing/2014/main" id="{4ED0B6FD-8BD4-445F-BB8C-A2E08F6D525C}"/>
              </a:ext>
            </a:extLst>
          </p:cNvPr>
          <p:cNvSpPr>
            <a:spLocks noEditPoints="1"/>
          </p:cNvSpPr>
          <p:nvPr/>
        </p:nvSpPr>
        <p:spPr bwMode="auto">
          <a:xfrm>
            <a:off x="6119744" y="5268913"/>
            <a:ext cx="779463" cy="711200"/>
          </a:xfrm>
          <a:custGeom>
            <a:avLst/>
            <a:gdLst>
              <a:gd name="T0" fmla="*/ 113 w 226"/>
              <a:gd name="T1" fmla="*/ 48 h 206"/>
              <a:gd name="T2" fmla="*/ 109 w 226"/>
              <a:gd name="T3" fmla="*/ 53 h 206"/>
              <a:gd name="T4" fmla="*/ 109 w 226"/>
              <a:gd name="T5" fmla="*/ 107 h 206"/>
              <a:gd name="T6" fmla="*/ 102 w 226"/>
              <a:gd name="T7" fmla="*/ 109 h 206"/>
              <a:gd name="T8" fmla="*/ 99 w 226"/>
              <a:gd name="T9" fmla="*/ 115 h 206"/>
              <a:gd name="T10" fmla="*/ 103 w 226"/>
              <a:gd name="T11" fmla="*/ 118 h 206"/>
              <a:gd name="T12" fmla="*/ 105 w 226"/>
              <a:gd name="T13" fmla="*/ 118 h 206"/>
              <a:gd name="T14" fmla="*/ 109 w 226"/>
              <a:gd name="T15" fmla="*/ 117 h 206"/>
              <a:gd name="T16" fmla="*/ 109 w 226"/>
              <a:gd name="T17" fmla="*/ 129 h 206"/>
              <a:gd name="T18" fmla="*/ 113 w 226"/>
              <a:gd name="T19" fmla="*/ 134 h 206"/>
              <a:gd name="T20" fmla="*/ 118 w 226"/>
              <a:gd name="T21" fmla="*/ 129 h 206"/>
              <a:gd name="T22" fmla="*/ 118 w 226"/>
              <a:gd name="T23" fmla="*/ 114 h 206"/>
              <a:gd name="T24" fmla="*/ 161 w 226"/>
              <a:gd name="T25" fmla="*/ 100 h 206"/>
              <a:gd name="T26" fmla="*/ 164 w 226"/>
              <a:gd name="T27" fmla="*/ 94 h 206"/>
              <a:gd name="T28" fmla="*/ 160 w 226"/>
              <a:gd name="T29" fmla="*/ 90 h 206"/>
              <a:gd name="T30" fmla="*/ 158 w 226"/>
              <a:gd name="T31" fmla="*/ 91 h 206"/>
              <a:gd name="T32" fmla="*/ 118 w 226"/>
              <a:gd name="T33" fmla="*/ 104 h 206"/>
              <a:gd name="T34" fmla="*/ 118 w 226"/>
              <a:gd name="T35" fmla="*/ 53 h 206"/>
              <a:gd name="T36" fmla="*/ 113 w 226"/>
              <a:gd name="T37" fmla="*/ 48 h 206"/>
              <a:gd name="T38" fmla="*/ 113 w 226"/>
              <a:gd name="T39" fmla="*/ 184 h 206"/>
              <a:gd name="T40" fmla="*/ 62 w 226"/>
              <a:gd name="T41" fmla="*/ 163 h 206"/>
              <a:gd name="T42" fmla="*/ 40 w 226"/>
              <a:gd name="T43" fmla="*/ 111 h 206"/>
              <a:gd name="T44" fmla="*/ 113 w 226"/>
              <a:gd name="T45" fmla="*/ 38 h 206"/>
              <a:gd name="T46" fmla="*/ 186 w 226"/>
              <a:gd name="T47" fmla="*/ 111 h 206"/>
              <a:gd name="T48" fmla="*/ 165 w 226"/>
              <a:gd name="T49" fmla="*/ 163 h 206"/>
              <a:gd name="T50" fmla="*/ 113 w 226"/>
              <a:gd name="T51" fmla="*/ 184 h 206"/>
              <a:gd name="T52" fmla="*/ 182 w 226"/>
              <a:gd name="T53" fmla="*/ 0 h 206"/>
              <a:gd name="T54" fmla="*/ 153 w 226"/>
              <a:gd name="T55" fmla="*/ 12 h 206"/>
              <a:gd name="T56" fmla="*/ 174 w 226"/>
              <a:gd name="T57" fmla="*/ 32 h 206"/>
              <a:gd name="T58" fmla="*/ 168 w 226"/>
              <a:gd name="T59" fmla="*/ 38 h 206"/>
              <a:gd name="T60" fmla="*/ 113 w 226"/>
              <a:gd name="T61" fmla="*/ 20 h 206"/>
              <a:gd name="T62" fmla="*/ 59 w 226"/>
              <a:gd name="T63" fmla="*/ 38 h 206"/>
              <a:gd name="T64" fmla="*/ 53 w 226"/>
              <a:gd name="T65" fmla="*/ 32 h 206"/>
              <a:gd name="T66" fmla="*/ 73 w 226"/>
              <a:gd name="T67" fmla="*/ 12 h 206"/>
              <a:gd name="T68" fmla="*/ 45 w 226"/>
              <a:gd name="T69" fmla="*/ 0 h 206"/>
              <a:gd name="T70" fmla="*/ 16 w 226"/>
              <a:gd name="T71" fmla="*/ 12 h 206"/>
              <a:gd name="T72" fmla="*/ 16 w 226"/>
              <a:gd name="T73" fmla="*/ 69 h 206"/>
              <a:gd name="T74" fmla="*/ 36 w 226"/>
              <a:gd name="T75" fmla="*/ 49 h 206"/>
              <a:gd name="T76" fmla="*/ 42 w 226"/>
              <a:gd name="T77" fmla="*/ 54 h 206"/>
              <a:gd name="T78" fmla="*/ 22 w 226"/>
              <a:gd name="T79" fmla="*/ 111 h 206"/>
              <a:gd name="T80" fmla="*/ 49 w 226"/>
              <a:gd name="T81" fmla="*/ 176 h 206"/>
              <a:gd name="T82" fmla="*/ 51 w 226"/>
              <a:gd name="T83" fmla="*/ 179 h 206"/>
              <a:gd name="T84" fmla="*/ 44 w 226"/>
              <a:gd name="T85" fmla="*/ 186 h 206"/>
              <a:gd name="T86" fmla="*/ 44 w 226"/>
              <a:gd name="T87" fmla="*/ 202 h 206"/>
              <a:gd name="T88" fmla="*/ 52 w 226"/>
              <a:gd name="T89" fmla="*/ 206 h 206"/>
              <a:gd name="T90" fmla="*/ 61 w 226"/>
              <a:gd name="T91" fmla="*/ 202 h 206"/>
              <a:gd name="T92" fmla="*/ 70 w 226"/>
              <a:gd name="T93" fmla="*/ 193 h 206"/>
              <a:gd name="T94" fmla="*/ 71 w 226"/>
              <a:gd name="T95" fmla="*/ 192 h 206"/>
              <a:gd name="T96" fmla="*/ 113 w 226"/>
              <a:gd name="T97" fmla="*/ 203 h 206"/>
              <a:gd name="T98" fmla="*/ 159 w 226"/>
              <a:gd name="T99" fmla="*/ 191 h 206"/>
              <a:gd name="T100" fmla="*/ 161 w 226"/>
              <a:gd name="T101" fmla="*/ 193 h 206"/>
              <a:gd name="T102" fmla="*/ 170 w 226"/>
              <a:gd name="T103" fmla="*/ 202 h 206"/>
              <a:gd name="T104" fmla="*/ 179 w 226"/>
              <a:gd name="T105" fmla="*/ 206 h 206"/>
              <a:gd name="T106" fmla="*/ 187 w 226"/>
              <a:gd name="T107" fmla="*/ 202 h 206"/>
              <a:gd name="T108" fmla="*/ 187 w 226"/>
              <a:gd name="T109" fmla="*/ 186 h 206"/>
              <a:gd name="T110" fmla="*/ 178 w 226"/>
              <a:gd name="T111" fmla="*/ 177 h 206"/>
              <a:gd name="T112" fmla="*/ 178 w 226"/>
              <a:gd name="T113" fmla="*/ 176 h 206"/>
              <a:gd name="T114" fmla="*/ 205 w 226"/>
              <a:gd name="T115" fmla="*/ 111 h 206"/>
              <a:gd name="T116" fmla="*/ 185 w 226"/>
              <a:gd name="T117" fmla="*/ 54 h 206"/>
              <a:gd name="T118" fmla="*/ 190 w 226"/>
              <a:gd name="T119" fmla="*/ 49 h 206"/>
              <a:gd name="T120" fmla="*/ 211 w 226"/>
              <a:gd name="T121" fmla="*/ 69 h 206"/>
              <a:gd name="T122" fmla="*/ 211 w 226"/>
              <a:gd name="T123" fmla="*/ 12 h 206"/>
              <a:gd name="T124" fmla="*/ 182 w 226"/>
              <a:gd name="T125" fmla="*/ 0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6" h="206">
                <a:moveTo>
                  <a:pt x="113" y="48"/>
                </a:moveTo>
                <a:cubicBezTo>
                  <a:pt x="111" y="48"/>
                  <a:pt x="109" y="51"/>
                  <a:pt x="109" y="53"/>
                </a:cubicBezTo>
                <a:cubicBezTo>
                  <a:pt x="109" y="107"/>
                  <a:pt x="109" y="107"/>
                  <a:pt x="109" y="107"/>
                </a:cubicBezTo>
                <a:cubicBezTo>
                  <a:pt x="102" y="109"/>
                  <a:pt x="102" y="109"/>
                  <a:pt x="102" y="109"/>
                </a:cubicBezTo>
                <a:cubicBezTo>
                  <a:pt x="99" y="110"/>
                  <a:pt x="98" y="113"/>
                  <a:pt x="99" y="115"/>
                </a:cubicBezTo>
                <a:cubicBezTo>
                  <a:pt x="99" y="117"/>
                  <a:pt x="101" y="118"/>
                  <a:pt x="103" y="118"/>
                </a:cubicBezTo>
                <a:cubicBezTo>
                  <a:pt x="104" y="118"/>
                  <a:pt x="104" y="118"/>
                  <a:pt x="105" y="118"/>
                </a:cubicBezTo>
                <a:cubicBezTo>
                  <a:pt x="109" y="117"/>
                  <a:pt x="109" y="117"/>
                  <a:pt x="109" y="117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2"/>
                  <a:pt x="111" y="134"/>
                  <a:pt x="113" y="134"/>
                </a:cubicBezTo>
                <a:cubicBezTo>
                  <a:pt x="116" y="134"/>
                  <a:pt x="118" y="132"/>
                  <a:pt x="118" y="129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61" y="100"/>
                  <a:pt x="161" y="100"/>
                  <a:pt x="161" y="100"/>
                </a:cubicBezTo>
                <a:cubicBezTo>
                  <a:pt x="164" y="99"/>
                  <a:pt x="165" y="96"/>
                  <a:pt x="164" y="94"/>
                </a:cubicBezTo>
                <a:cubicBezTo>
                  <a:pt x="163" y="92"/>
                  <a:pt x="162" y="90"/>
                  <a:pt x="160" y="90"/>
                </a:cubicBezTo>
                <a:cubicBezTo>
                  <a:pt x="159" y="90"/>
                  <a:pt x="159" y="91"/>
                  <a:pt x="158" y="91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8" y="53"/>
                  <a:pt x="118" y="53"/>
                  <a:pt x="118" y="53"/>
                </a:cubicBezTo>
                <a:cubicBezTo>
                  <a:pt x="118" y="51"/>
                  <a:pt x="116" y="48"/>
                  <a:pt x="113" y="48"/>
                </a:cubicBezTo>
                <a:moveTo>
                  <a:pt x="113" y="184"/>
                </a:moveTo>
                <a:cubicBezTo>
                  <a:pt x="94" y="184"/>
                  <a:pt x="76" y="177"/>
                  <a:pt x="62" y="163"/>
                </a:cubicBezTo>
                <a:cubicBezTo>
                  <a:pt x="48" y="149"/>
                  <a:pt x="40" y="131"/>
                  <a:pt x="40" y="111"/>
                </a:cubicBezTo>
                <a:cubicBezTo>
                  <a:pt x="40" y="71"/>
                  <a:pt x="73" y="38"/>
                  <a:pt x="113" y="38"/>
                </a:cubicBezTo>
                <a:cubicBezTo>
                  <a:pt x="154" y="38"/>
                  <a:pt x="186" y="71"/>
                  <a:pt x="186" y="111"/>
                </a:cubicBezTo>
                <a:cubicBezTo>
                  <a:pt x="186" y="131"/>
                  <a:pt x="179" y="149"/>
                  <a:pt x="165" y="163"/>
                </a:cubicBezTo>
                <a:cubicBezTo>
                  <a:pt x="151" y="177"/>
                  <a:pt x="133" y="184"/>
                  <a:pt x="113" y="184"/>
                </a:cubicBezTo>
                <a:moveTo>
                  <a:pt x="182" y="0"/>
                </a:moveTo>
                <a:cubicBezTo>
                  <a:pt x="171" y="0"/>
                  <a:pt x="161" y="4"/>
                  <a:pt x="153" y="12"/>
                </a:cubicBezTo>
                <a:cubicBezTo>
                  <a:pt x="174" y="32"/>
                  <a:pt x="174" y="32"/>
                  <a:pt x="174" y="32"/>
                </a:cubicBezTo>
                <a:cubicBezTo>
                  <a:pt x="168" y="38"/>
                  <a:pt x="168" y="38"/>
                  <a:pt x="168" y="38"/>
                </a:cubicBezTo>
                <a:cubicBezTo>
                  <a:pt x="153" y="26"/>
                  <a:pt x="134" y="20"/>
                  <a:pt x="113" y="20"/>
                </a:cubicBezTo>
                <a:cubicBezTo>
                  <a:pt x="93" y="20"/>
                  <a:pt x="74" y="27"/>
                  <a:pt x="59" y="38"/>
                </a:cubicBezTo>
                <a:cubicBezTo>
                  <a:pt x="53" y="32"/>
                  <a:pt x="53" y="32"/>
                  <a:pt x="53" y="32"/>
                </a:cubicBezTo>
                <a:cubicBezTo>
                  <a:pt x="73" y="12"/>
                  <a:pt x="73" y="12"/>
                  <a:pt x="73" y="12"/>
                </a:cubicBezTo>
                <a:cubicBezTo>
                  <a:pt x="66" y="4"/>
                  <a:pt x="55" y="0"/>
                  <a:pt x="45" y="0"/>
                </a:cubicBezTo>
                <a:cubicBezTo>
                  <a:pt x="34" y="0"/>
                  <a:pt x="24" y="4"/>
                  <a:pt x="16" y="12"/>
                </a:cubicBezTo>
                <a:cubicBezTo>
                  <a:pt x="0" y="28"/>
                  <a:pt x="0" y="53"/>
                  <a:pt x="16" y="69"/>
                </a:cubicBezTo>
                <a:cubicBezTo>
                  <a:pt x="36" y="49"/>
                  <a:pt x="36" y="49"/>
                  <a:pt x="36" y="49"/>
                </a:cubicBezTo>
                <a:cubicBezTo>
                  <a:pt x="42" y="54"/>
                  <a:pt x="42" y="54"/>
                  <a:pt x="42" y="54"/>
                </a:cubicBezTo>
                <a:cubicBezTo>
                  <a:pt x="29" y="70"/>
                  <a:pt x="22" y="90"/>
                  <a:pt x="22" y="111"/>
                </a:cubicBezTo>
                <a:cubicBezTo>
                  <a:pt x="22" y="136"/>
                  <a:pt x="31" y="159"/>
                  <a:pt x="49" y="176"/>
                </a:cubicBezTo>
                <a:cubicBezTo>
                  <a:pt x="50" y="177"/>
                  <a:pt x="50" y="178"/>
                  <a:pt x="51" y="179"/>
                </a:cubicBezTo>
                <a:cubicBezTo>
                  <a:pt x="44" y="186"/>
                  <a:pt x="44" y="186"/>
                  <a:pt x="44" y="186"/>
                </a:cubicBezTo>
                <a:cubicBezTo>
                  <a:pt x="40" y="190"/>
                  <a:pt x="40" y="198"/>
                  <a:pt x="44" y="202"/>
                </a:cubicBezTo>
                <a:cubicBezTo>
                  <a:pt x="47" y="205"/>
                  <a:pt x="49" y="206"/>
                  <a:pt x="52" y="206"/>
                </a:cubicBezTo>
                <a:cubicBezTo>
                  <a:pt x="55" y="206"/>
                  <a:pt x="58" y="205"/>
                  <a:pt x="61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1" y="192"/>
                  <a:pt x="71" y="192"/>
                  <a:pt x="71" y="192"/>
                </a:cubicBezTo>
                <a:cubicBezTo>
                  <a:pt x="84" y="199"/>
                  <a:pt x="98" y="203"/>
                  <a:pt x="113" y="203"/>
                </a:cubicBezTo>
                <a:cubicBezTo>
                  <a:pt x="130" y="203"/>
                  <a:pt x="145" y="199"/>
                  <a:pt x="159" y="191"/>
                </a:cubicBezTo>
                <a:cubicBezTo>
                  <a:pt x="160" y="191"/>
                  <a:pt x="160" y="192"/>
                  <a:pt x="161" y="193"/>
                </a:cubicBezTo>
                <a:cubicBezTo>
                  <a:pt x="170" y="202"/>
                  <a:pt x="170" y="202"/>
                  <a:pt x="170" y="202"/>
                </a:cubicBezTo>
                <a:cubicBezTo>
                  <a:pt x="173" y="205"/>
                  <a:pt x="176" y="206"/>
                  <a:pt x="179" y="206"/>
                </a:cubicBezTo>
                <a:cubicBezTo>
                  <a:pt x="182" y="206"/>
                  <a:pt x="185" y="205"/>
                  <a:pt x="187" y="202"/>
                </a:cubicBezTo>
                <a:cubicBezTo>
                  <a:pt x="191" y="198"/>
                  <a:pt x="191" y="190"/>
                  <a:pt x="187" y="186"/>
                </a:cubicBezTo>
                <a:cubicBezTo>
                  <a:pt x="178" y="177"/>
                  <a:pt x="178" y="177"/>
                  <a:pt x="178" y="177"/>
                </a:cubicBezTo>
                <a:cubicBezTo>
                  <a:pt x="178" y="176"/>
                  <a:pt x="178" y="176"/>
                  <a:pt x="178" y="176"/>
                </a:cubicBezTo>
                <a:cubicBezTo>
                  <a:pt x="196" y="159"/>
                  <a:pt x="205" y="136"/>
                  <a:pt x="205" y="111"/>
                </a:cubicBezTo>
                <a:cubicBezTo>
                  <a:pt x="205" y="90"/>
                  <a:pt x="198" y="70"/>
                  <a:pt x="185" y="54"/>
                </a:cubicBezTo>
                <a:cubicBezTo>
                  <a:pt x="190" y="49"/>
                  <a:pt x="190" y="49"/>
                  <a:pt x="190" y="49"/>
                </a:cubicBezTo>
                <a:cubicBezTo>
                  <a:pt x="211" y="69"/>
                  <a:pt x="211" y="69"/>
                  <a:pt x="211" y="69"/>
                </a:cubicBezTo>
                <a:cubicBezTo>
                  <a:pt x="226" y="53"/>
                  <a:pt x="226" y="28"/>
                  <a:pt x="211" y="12"/>
                </a:cubicBezTo>
                <a:cubicBezTo>
                  <a:pt x="203" y="4"/>
                  <a:pt x="192" y="0"/>
                  <a:pt x="182" y="0"/>
                </a:cubicBezTo>
              </a:path>
            </a:pathLst>
          </a:custGeom>
          <a:solidFill>
            <a:srgbClr val="8592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47FDB71E-260A-4A78-85D0-9A9DCBE29600}"/>
              </a:ext>
            </a:extLst>
          </p:cNvPr>
          <p:cNvSpPr txBox="1"/>
          <p:nvPr/>
        </p:nvSpPr>
        <p:spPr>
          <a:xfrm>
            <a:off x="4656973" y="569379"/>
            <a:ext cx="6559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1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FB8BED00-9352-4147-B112-61F5CE322727}"/>
              </a:ext>
            </a:extLst>
          </p:cNvPr>
          <p:cNvSpPr txBox="1"/>
          <p:nvPr/>
        </p:nvSpPr>
        <p:spPr>
          <a:xfrm>
            <a:off x="7776419" y="2136051"/>
            <a:ext cx="7184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2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C9976756-427D-426B-910D-D1CAC1BE0B83}"/>
              </a:ext>
            </a:extLst>
          </p:cNvPr>
          <p:cNvSpPr txBox="1"/>
          <p:nvPr/>
        </p:nvSpPr>
        <p:spPr>
          <a:xfrm>
            <a:off x="4656973" y="3445423"/>
            <a:ext cx="7328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3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34817743-45B0-431E-B147-1C9F1DED2CE0}"/>
              </a:ext>
            </a:extLst>
          </p:cNvPr>
          <p:cNvSpPr txBox="1"/>
          <p:nvPr/>
        </p:nvSpPr>
        <p:spPr>
          <a:xfrm>
            <a:off x="7725846" y="4985865"/>
            <a:ext cx="71686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4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A94B41E5-A72D-43D1-98FB-856410361C92}"/>
              </a:ext>
            </a:extLst>
          </p:cNvPr>
          <p:cNvSpPr txBox="1"/>
          <p:nvPr/>
        </p:nvSpPr>
        <p:spPr>
          <a:xfrm>
            <a:off x="3863088" y="1346439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E86C1B4A-1169-45C4-835A-0E34083C21AA}"/>
              </a:ext>
            </a:extLst>
          </p:cNvPr>
          <p:cNvSpPr txBox="1"/>
          <p:nvPr/>
        </p:nvSpPr>
        <p:spPr>
          <a:xfrm>
            <a:off x="3956076" y="4166547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A0CAE05-77C1-4046-8502-92D1AAC37E1F}"/>
              </a:ext>
            </a:extLst>
          </p:cNvPr>
          <p:cNvSpPr txBox="1"/>
          <p:nvPr/>
        </p:nvSpPr>
        <p:spPr>
          <a:xfrm>
            <a:off x="7797442" y="2914557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.</a:t>
            </a:r>
            <a:endParaRPr lang="zh-CN" altLang="en-US" dirty="0">
              <a:solidFill>
                <a:srgbClr val="605E5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506ED968-1059-47A6-ADEB-C0C615340157}"/>
              </a:ext>
            </a:extLst>
          </p:cNvPr>
          <p:cNvSpPr txBox="1"/>
          <p:nvPr/>
        </p:nvSpPr>
        <p:spPr>
          <a:xfrm>
            <a:off x="7797442" y="5750928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无法表示递进关系的模板</a:t>
            </a:r>
          </a:p>
        </p:txBody>
      </p:sp>
    </p:spTree>
    <p:extLst>
      <p:ext uri="{BB962C8B-B14F-4D97-AF65-F5344CB8AC3E}">
        <p14:creationId xmlns:p14="http://schemas.microsoft.com/office/powerpoint/2010/main" val="1469796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无法表示递进关系的模板</a:t>
            </a:r>
          </a:p>
        </p:txBody>
      </p:sp>
      <p:sp>
        <p:nvSpPr>
          <p:cNvPr id="172" name="矩形 171">
            <a:extLst>
              <a:ext uri="{FF2B5EF4-FFF2-40B4-BE49-F238E27FC236}">
                <a16:creationId xmlns:a16="http://schemas.microsoft.com/office/drawing/2014/main" id="{FA5E48A7-5D64-4F68-A057-A979E40EA244}"/>
              </a:ext>
            </a:extLst>
          </p:cNvPr>
          <p:cNvSpPr/>
          <p:nvPr/>
        </p:nvSpPr>
        <p:spPr>
          <a:xfrm>
            <a:off x="4335294" y="0"/>
            <a:ext cx="6096000" cy="6858000"/>
          </a:xfrm>
          <a:prstGeom prst="rect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73" name="组合 172">
            <a:extLst>
              <a:ext uri="{FF2B5EF4-FFF2-40B4-BE49-F238E27FC236}">
                <a16:creationId xmlns:a16="http://schemas.microsoft.com/office/drawing/2014/main" id="{8C043CE4-41D0-4181-9EF1-A52774F0D423}"/>
              </a:ext>
            </a:extLst>
          </p:cNvPr>
          <p:cNvGrpSpPr/>
          <p:nvPr/>
        </p:nvGrpSpPr>
        <p:grpSpPr>
          <a:xfrm>
            <a:off x="6670506" y="135000"/>
            <a:ext cx="1425575" cy="6588000"/>
            <a:chOff x="4959741" y="135000"/>
            <a:chExt cx="1425575" cy="6588000"/>
          </a:xfrm>
        </p:grpSpPr>
        <p:sp>
          <p:nvSpPr>
            <p:cNvPr id="174" name="圆角矩形 96">
              <a:extLst>
                <a:ext uri="{FF2B5EF4-FFF2-40B4-BE49-F238E27FC236}">
                  <a16:creationId xmlns:a16="http://schemas.microsoft.com/office/drawing/2014/main" id="{7280D0A5-32BA-4655-B4C9-2C53B6E24DD5}"/>
                </a:ext>
              </a:extLst>
            </p:cNvPr>
            <p:cNvSpPr/>
            <p:nvPr/>
          </p:nvSpPr>
          <p:spPr>
            <a:xfrm>
              <a:off x="4959741" y="135000"/>
              <a:ext cx="1425575" cy="6588000"/>
            </a:xfrm>
            <a:prstGeom prst="roundRect">
              <a:avLst>
                <a:gd name="adj" fmla="val 50000"/>
              </a:avLst>
            </a:prstGeom>
            <a:solidFill>
              <a:srgbClr val="E3E3E3"/>
            </a:solidFill>
            <a:ln>
              <a:noFill/>
            </a:ln>
            <a:effectLst>
              <a:outerShdw blurRad="228600" dist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5" name="圆角矩形 97">
              <a:extLst>
                <a:ext uri="{FF2B5EF4-FFF2-40B4-BE49-F238E27FC236}">
                  <a16:creationId xmlns:a16="http://schemas.microsoft.com/office/drawing/2014/main" id="{39ADD5D9-3BAE-4F6C-94BE-131DCC148BB1}"/>
                </a:ext>
              </a:extLst>
            </p:cNvPr>
            <p:cNvSpPr/>
            <p:nvPr/>
          </p:nvSpPr>
          <p:spPr>
            <a:xfrm>
              <a:off x="4959741" y="135000"/>
              <a:ext cx="1425575" cy="6588000"/>
            </a:xfrm>
            <a:prstGeom prst="roundRect">
              <a:avLst>
                <a:gd name="adj" fmla="val 50000"/>
              </a:avLst>
            </a:prstGeom>
            <a:solidFill>
              <a:srgbClr val="E3E3E3"/>
            </a:solidFill>
            <a:ln>
              <a:noFill/>
            </a:ln>
            <a:effectLst>
              <a:outerShdw blurRad="228600" dist="635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6" name="Freeform 23">
            <a:extLst>
              <a:ext uri="{FF2B5EF4-FFF2-40B4-BE49-F238E27FC236}">
                <a16:creationId xmlns:a16="http://schemas.microsoft.com/office/drawing/2014/main" id="{3CBAA3CF-B715-4F43-95F4-4F46F0C25CFC}"/>
              </a:ext>
            </a:extLst>
          </p:cNvPr>
          <p:cNvSpPr>
            <a:spLocks/>
          </p:cNvSpPr>
          <p:nvPr/>
        </p:nvSpPr>
        <p:spPr bwMode="auto">
          <a:xfrm>
            <a:off x="4667082" y="506299"/>
            <a:ext cx="2003425" cy="1911350"/>
          </a:xfrm>
          <a:custGeom>
            <a:avLst/>
            <a:gdLst>
              <a:gd name="T0" fmla="*/ 45 w 45"/>
              <a:gd name="T1" fmla="*/ 43 h 43"/>
              <a:gd name="T2" fmla="*/ 22 w 45"/>
              <a:gd name="T3" fmla="*/ 43 h 43"/>
              <a:gd name="T4" fmla="*/ 0 w 45"/>
              <a:gd name="T5" fmla="*/ 21 h 43"/>
              <a:gd name="T6" fmla="*/ 22 w 45"/>
              <a:gd name="T7" fmla="*/ 0 h 43"/>
              <a:gd name="T8" fmla="*/ 45 w 45"/>
              <a:gd name="T9" fmla="*/ 0 h 43"/>
              <a:gd name="T10" fmla="*/ 45 w 45"/>
              <a:gd name="T11" fmla="*/ 13 h 43"/>
              <a:gd name="T12" fmla="*/ 22 w 45"/>
              <a:gd name="T13" fmla="*/ 13 h 43"/>
              <a:gd name="T14" fmla="*/ 13 w 45"/>
              <a:gd name="T15" fmla="*/ 21 h 43"/>
              <a:gd name="T16" fmla="*/ 22 w 45"/>
              <a:gd name="T17" fmla="*/ 30 h 43"/>
              <a:gd name="T18" fmla="*/ 45 w 45"/>
              <a:gd name="T19" fmla="*/ 30 h 43"/>
              <a:gd name="T20" fmla="*/ 45 w 45"/>
              <a:gd name="T21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" h="43">
                <a:moveTo>
                  <a:pt x="45" y="43"/>
                </a:moveTo>
                <a:cubicBezTo>
                  <a:pt x="22" y="43"/>
                  <a:pt x="22" y="43"/>
                  <a:pt x="22" y="43"/>
                </a:cubicBezTo>
                <a:cubicBezTo>
                  <a:pt x="10" y="43"/>
                  <a:pt x="0" y="33"/>
                  <a:pt x="0" y="21"/>
                </a:cubicBezTo>
                <a:cubicBezTo>
                  <a:pt x="0" y="9"/>
                  <a:pt x="10" y="0"/>
                  <a:pt x="22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13"/>
                  <a:pt x="45" y="13"/>
                  <a:pt x="45" y="13"/>
                </a:cubicBezTo>
                <a:cubicBezTo>
                  <a:pt x="22" y="13"/>
                  <a:pt x="22" y="13"/>
                  <a:pt x="22" y="13"/>
                </a:cubicBezTo>
                <a:cubicBezTo>
                  <a:pt x="17" y="13"/>
                  <a:pt x="13" y="17"/>
                  <a:pt x="13" y="21"/>
                </a:cubicBezTo>
                <a:cubicBezTo>
                  <a:pt x="13" y="26"/>
                  <a:pt x="17" y="30"/>
                  <a:pt x="22" y="30"/>
                </a:cubicBezTo>
                <a:cubicBezTo>
                  <a:pt x="45" y="30"/>
                  <a:pt x="45" y="30"/>
                  <a:pt x="45" y="30"/>
                </a:cubicBezTo>
                <a:lnTo>
                  <a:pt x="45" y="43"/>
                </a:lnTo>
                <a:close/>
              </a:path>
            </a:pathLst>
          </a:custGeom>
          <a:solidFill>
            <a:srgbClr val="EF4136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7" name="Freeform 24">
            <a:extLst>
              <a:ext uri="{FF2B5EF4-FFF2-40B4-BE49-F238E27FC236}">
                <a16:creationId xmlns:a16="http://schemas.microsoft.com/office/drawing/2014/main" id="{AE0B0120-5C38-4EF0-9E65-DD00994D20CC}"/>
              </a:ext>
            </a:extLst>
          </p:cNvPr>
          <p:cNvSpPr>
            <a:spLocks/>
          </p:cNvSpPr>
          <p:nvPr/>
        </p:nvSpPr>
        <p:spPr bwMode="auto">
          <a:xfrm>
            <a:off x="8096082" y="1839799"/>
            <a:ext cx="2003425" cy="1955800"/>
          </a:xfrm>
          <a:custGeom>
            <a:avLst/>
            <a:gdLst>
              <a:gd name="T0" fmla="*/ 0 w 45"/>
              <a:gd name="T1" fmla="*/ 44 h 44"/>
              <a:gd name="T2" fmla="*/ 22 w 45"/>
              <a:gd name="T3" fmla="*/ 44 h 44"/>
              <a:gd name="T4" fmla="*/ 45 w 45"/>
              <a:gd name="T5" fmla="*/ 22 h 44"/>
              <a:gd name="T6" fmla="*/ 22 w 45"/>
              <a:gd name="T7" fmla="*/ 0 h 44"/>
              <a:gd name="T8" fmla="*/ 0 w 45"/>
              <a:gd name="T9" fmla="*/ 0 h 44"/>
              <a:gd name="T10" fmla="*/ 0 w 45"/>
              <a:gd name="T11" fmla="*/ 13 h 44"/>
              <a:gd name="T12" fmla="*/ 22 w 45"/>
              <a:gd name="T13" fmla="*/ 13 h 44"/>
              <a:gd name="T14" fmla="*/ 32 w 45"/>
              <a:gd name="T15" fmla="*/ 22 h 44"/>
              <a:gd name="T16" fmla="*/ 22 w 45"/>
              <a:gd name="T17" fmla="*/ 30 h 44"/>
              <a:gd name="T18" fmla="*/ 0 w 45"/>
              <a:gd name="T19" fmla="*/ 30 h 44"/>
              <a:gd name="T20" fmla="*/ 0 w 45"/>
              <a:gd name="T21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" h="44">
                <a:moveTo>
                  <a:pt x="0" y="44"/>
                </a:moveTo>
                <a:cubicBezTo>
                  <a:pt x="22" y="44"/>
                  <a:pt x="22" y="44"/>
                  <a:pt x="22" y="44"/>
                </a:cubicBezTo>
                <a:cubicBezTo>
                  <a:pt x="35" y="44"/>
                  <a:pt x="45" y="34"/>
                  <a:pt x="45" y="22"/>
                </a:cubicBezTo>
                <a:cubicBezTo>
                  <a:pt x="45" y="10"/>
                  <a:pt x="35" y="0"/>
                  <a:pt x="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2" y="13"/>
                  <a:pt x="22" y="13"/>
                  <a:pt x="22" y="13"/>
                </a:cubicBezTo>
                <a:cubicBezTo>
                  <a:pt x="28" y="13"/>
                  <a:pt x="32" y="17"/>
                  <a:pt x="32" y="22"/>
                </a:cubicBezTo>
                <a:cubicBezTo>
                  <a:pt x="32" y="26"/>
                  <a:pt x="28" y="30"/>
                  <a:pt x="22" y="30"/>
                </a:cubicBezTo>
                <a:cubicBezTo>
                  <a:pt x="0" y="30"/>
                  <a:pt x="0" y="30"/>
                  <a:pt x="0" y="30"/>
                </a:cubicBezTo>
                <a:lnTo>
                  <a:pt x="0" y="44"/>
                </a:lnTo>
                <a:close/>
              </a:path>
            </a:pathLst>
          </a:custGeom>
          <a:solidFill>
            <a:srgbClr val="2AA1DC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8" name="Freeform 25">
            <a:extLst>
              <a:ext uri="{FF2B5EF4-FFF2-40B4-BE49-F238E27FC236}">
                <a16:creationId xmlns:a16="http://schemas.microsoft.com/office/drawing/2014/main" id="{CD982794-FB35-43C9-8FFC-C34F18755F9D}"/>
              </a:ext>
            </a:extLst>
          </p:cNvPr>
          <p:cNvSpPr>
            <a:spLocks/>
          </p:cNvSpPr>
          <p:nvPr/>
        </p:nvSpPr>
        <p:spPr bwMode="auto">
          <a:xfrm>
            <a:off x="4667082" y="3173299"/>
            <a:ext cx="2003425" cy="1955800"/>
          </a:xfrm>
          <a:custGeom>
            <a:avLst/>
            <a:gdLst>
              <a:gd name="T0" fmla="*/ 45 w 45"/>
              <a:gd name="T1" fmla="*/ 44 h 44"/>
              <a:gd name="T2" fmla="*/ 23 w 45"/>
              <a:gd name="T3" fmla="*/ 44 h 44"/>
              <a:gd name="T4" fmla="*/ 0 w 45"/>
              <a:gd name="T5" fmla="*/ 22 h 44"/>
              <a:gd name="T6" fmla="*/ 23 w 45"/>
              <a:gd name="T7" fmla="*/ 0 h 44"/>
              <a:gd name="T8" fmla="*/ 45 w 45"/>
              <a:gd name="T9" fmla="*/ 0 h 44"/>
              <a:gd name="T10" fmla="*/ 45 w 45"/>
              <a:gd name="T11" fmla="*/ 13 h 44"/>
              <a:gd name="T12" fmla="*/ 23 w 45"/>
              <a:gd name="T13" fmla="*/ 13 h 44"/>
              <a:gd name="T14" fmla="*/ 13 w 45"/>
              <a:gd name="T15" fmla="*/ 22 h 44"/>
              <a:gd name="T16" fmla="*/ 23 w 45"/>
              <a:gd name="T17" fmla="*/ 30 h 44"/>
              <a:gd name="T18" fmla="*/ 45 w 45"/>
              <a:gd name="T19" fmla="*/ 30 h 44"/>
              <a:gd name="T20" fmla="*/ 45 w 45"/>
              <a:gd name="T21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" h="44">
                <a:moveTo>
                  <a:pt x="45" y="44"/>
                </a:moveTo>
                <a:cubicBezTo>
                  <a:pt x="23" y="44"/>
                  <a:pt x="23" y="44"/>
                  <a:pt x="23" y="44"/>
                </a:cubicBezTo>
                <a:cubicBezTo>
                  <a:pt x="10" y="44"/>
                  <a:pt x="0" y="34"/>
                  <a:pt x="0" y="22"/>
                </a:cubicBezTo>
                <a:cubicBezTo>
                  <a:pt x="0" y="10"/>
                  <a:pt x="10" y="0"/>
                  <a:pt x="2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13"/>
                  <a:pt x="45" y="13"/>
                  <a:pt x="45" y="13"/>
                </a:cubicBezTo>
                <a:cubicBezTo>
                  <a:pt x="23" y="13"/>
                  <a:pt x="23" y="13"/>
                  <a:pt x="23" y="13"/>
                </a:cubicBezTo>
                <a:cubicBezTo>
                  <a:pt x="17" y="13"/>
                  <a:pt x="13" y="17"/>
                  <a:pt x="13" y="22"/>
                </a:cubicBezTo>
                <a:cubicBezTo>
                  <a:pt x="13" y="27"/>
                  <a:pt x="17" y="30"/>
                  <a:pt x="23" y="30"/>
                </a:cubicBezTo>
                <a:cubicBezTo>
                  <a:pt x="45" y="30"/>
                  <a:pt x="45" y="30"/>
                  <a:pt x="45" y="30"/>
                </a:cubicBezTo>
                <a:lnTo>
                  <a:pt x="45" y="44"/>
                </a:lnTo>
                <a:close/>
              </a:path>
            </a:pathLst>
          </a:custGeom>
          <a:solidFill>
            <a:srgbClr val="414042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9" name="Freeform 26">
            <a:extLst>
              <a:ext uri="{FF2B5EF4-FFF2-40B4-BE49-F238E27FC236}">
                <a16:creationId xmlns:a16="http://schemas.microsoft.com/office/drawing/2014/main" id="{222E966D-0292-497B-9E96-5DEDE16CE7A5}"/>
              </a:ext>
            </a:extLst>
          </p:cNvPr>
          <p:cNvSpPr>
            <a:spLocks/>
          </p:cNvSpPr>
          <p:nvPr/>
        </p:nvSpPr>
        <p:spPr bwMode="auto">
          <a:xfrm>
            <a:off x="8096082" y="4551249"/>
            <a:ext cx="2047875" cy="1911350"/>
          </a:xfrm>
          <a:custGeom>
            <a:avLst/>
            <a:gdLst>
              <a:gd name="T0" fmla="*/ 0 w 46"/>
              <a:gd name="T1" fmla="*/ 43 h 43"/>
              <a:gd name="T2" fmla="*/ 23 w 46"/>
              <a:gd name="T3" fmla="*/ 43 h 43"/>
              <a:gd name="T4" fmla="*/ 46 w 46"/>
              <a:gd name="T5" fmla="*/ 21 h 43"/>
              <a:gd name="T6" fmla="*/ 23 w 46"/>
              <a:gd name="T7" fmla="*/ 0 h 43"/>
              <a:gd name="T8" fmla="*/ 0 w 46"/>
              <a:gd name="T9" fmla="*/ 0 h 43"/>
              <a:gd name="T10" fmla="*/ 0 w 46"/>
              <a:gd name="T11" fmla="*/ 13 h 43"/>
              <a:gd name="T12" fmla="*/ 23 w 46"/>
              <a:gd name="T13" fmla="*/ 13 h 43"/>
              <a:gd name="T14" fmla="*/ 32 w 46"/>
              <a:gd name="T15" fmla="*/ 21 h 43"/>
              <a:gd name="T16" fmla="*/ 23 w 46"/>
              <a:gd name="T17" fmla="*/ 30 h 43"/>
              <a:gd name="T18" fmla="*/ 0 w 46"/>
              <a:gd name="T19" fmla="*/ 30 h 43"/>
              <a:gd name="T20" fmla="*/ 0 w 46"/>
              <a:gd name="T21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6" h="43">
                <a:moveTo>
                  <a:pt x="0" y="43"/>
                </a:moveTo>
                <a:cubicBezTo>
                  <a:pt x="23" y="43"/>
                  <a:pt x="23" y="43"/>
                  <a:pt x="23" y="43"/>
                </a:cubicBezTo>
                <a:cubicBezTo>
                  <a:pt x="35" y="43"/>
                  <a:pt x="46" y="33"/>
                  <a:pt x="46" y="21"/>
                </a:cubicBezTo>
                <a:cubicBezTo>
                  <a:pt x="46" y="9"/>
                  <a:pt x="35" y="0"/>
                  <a:pt x="2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3" y="13"/>
                  <a:pt x="23" y="13"/>
                  <a:pt x="23" y="13"/>
                </a:cubicBezTo>
                <a:cubicBezTo>
                  <a:pt x="28" y="13"/>
                  <a:pt x="32" y="17"/>
                  <a:pt x="32" y="21"/>
                </a:cubicBezTo>
                <a:cubicBezTo>
                  <a:pt x="32" y="26"/>
                  <a:pt x="28" y="30"/>
                  <a:pt x="23" y="30"/>
                </a:cubicBezTo>
                <a:cubicBezTo>
                  <a:pt x="0" y="30"/>
                  <a:pt x="0" y="30"/>
                  <a:pt x="0" y="30"/>
                </a:cubicBezTo>
                <a:lnTo>
                  <a:pt x="0" y="43"/>
                </a:lnTo>
                <a:close/>
              </a:path>
            </a:pathLst>
          </a:custGeom>
          <a:solidFill>
            <a:srgbClr val="EE2A7B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F1A1BB89-E682-4E37-87F3-61655AA82E2C}"/>
              </a:ext>
            </a:extLst>
          </p:cNvPr>
          <p:cNvSpPr/>
          <p:nvPr/>
        </p:nvSpPr>
        <p:spPr>
          <a:xfrm>
            <a:off x="6670507" y="0"/>
            <a:ext cx="1425575" cy="6858000"/>
          </a:xfrm>
          <a:prstGeom prst="rect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81" name="组合 180">
            <a:extLst>
              <a:ext uri="{FF2B5EF4-FFF2-40B4-BE49-F238E27FC236}">
                <a16:creationId xmlns:a16="http://schemas.microsoft.com/office/drawing/2014/main" id="{D998BE48-4DBD-44E5-B2B5-9C8AD3DAFF98}"/>
              </a:ext>
            </a:extLst>
          </p:cNvPr>
          <p:cNvGrpSpPr/>
          <p:nvPr/>
        </p:nvGrpSpPr>
        <p:grpSpPr>
          <a:xfrm>
            <a:off x="8489859" y="2578393"/>
            <a:ext cx="619126" cy="411163"/>
            <a:chOff x="4254500" y="1266825"/>
            <a:chExt cx="619126" cy="411163"/>
          </a:xfrm>
        </p:grpSpPr>
        <p:sp>
          <p:nvSpPr>
            <p:cNvPr id="182" name="Freeform 11">
              <a:extLst>
                <a:ext uri="{FF2B5EF4-FFF2-40B4-BE49-F238E27FC236}">
                  <a16:creationId xmlns:a16="http://schemas.microsoft.com/office/drawing/2014/main" id="{81ED92CE-7B3A-48A4-BA02-E0534BF645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4500" y="1276350"/>
              <a:ext cx="411163" cy="390525"/>
            </a:xfrm>
            <a:custGeom>
              <a:avLst/>
              <a:gdLst>
                <a:gd name="T0" fmla="*/ 182 w 192"/>
                <a:gd name="T1" fmla="*/ 0 h 182"/>
                <a:gd name="T2" fmla="*/ 10 w 192"/>
                <a:gd name="T3" fmla="*/ 0 h 182"/>
                <a:gd name="T4" fmla="*/ 0 w 192"/>
                <a:gd name="T5" fmla="*/ 10 h 182"/>
                <a:gd name="T6" fmla="*/ 0 w 192"/>
                <a:gd name="T7" fmla="*/ 128 h 182"/>
                <a:gd name="T8" fmla="*/ 10 w 192"/>
                <a:gd name="T9" fmla="*/ 138 h 182"/>
                <a:gd name="T10" fmla="*/ 80 w 192"/>
                <a:gd name="T11" fmla="*/ 138 h 182"/>
                <a:gd name="T12" fmla="*/ 80 w 192"/>
                <a:gd name="T13" fmla="*/ 170 h 182"/>
                <a:gd name="T14" fmla="*/ 38 w 192"/>
                <a:gd name="T15" fmla="*/ 170 h 182"/>
                <a:gd name="T16" fmla="*/ 34 w 192"/>
                <a:gd name="T17" fmla="*/ 176 h 182"/>
                <a:gd name="T18" fmla="*/ 38 w 192"/>
                <a:gd name="T19" fmla="*/ 182 h 182"/>
                <a:gd name="T20" fmla="*/ 162 w 192"/>
                <a:gd name="T21" fmla="*/ 182 h 182"/>
                <a:gd name="T22" fmla="*/ 167 w 192"/>
                <a:gd name="T23" fmla="*/ 176 h 182"/>
                <a:gd name="T24" fmla="*/ 162 w 192"/>
                <a:gd name="T25" fmla="*/ 170 h 182"/>
                <a:gd name="T26" fmla="*/ 119 w 192"/>
                <a:gd name="T27" fmla="*/ 170 h 182"/>
                <a:gd name="T28" fmla="*/ 119 w 192"/>
                <a:gd name="T29" fmla="*/ 138 h 182"/>
                <a:gd name="T30" fmla="*/ 182 w 192"/>
                <a:gd name="T31" fmla="*/ 138 h 182"/>
                <a:gd name="T32" fmla="*/ 192 w 192"/>
                <a:gd name="T33" fmla="*/ 128 h 182"/>
                <a:gd name="T34" fmla="*/ 192 w 192"/>
                <a:gd name="T35" fmla="*/ 10 h 182"/>
                <a:gd name="T36" fmla="*/ 182 w 192"/>
                <a:gd name="T37" fmla="*/ 0 h 182"/>
                <a:gd name="T38" fmla="*/ 183 w 192"/>
                <a:gd name="T39" fmla="*/ 130 h 182"/>
                <a:gd name="T40" fmla="*/ 10 w 192"/>
                <a:gd name="T41" fmla="*/ 130 h 182"/>
                <a:gd name="T42" fmla="*/ 10 w 192"/>
                <a:gd name="T43" fmla="*/ 6 h 182"/>
                <a:gd name="T44" fmla="*/ 183 w 192"/>
                <a:gd name="T45" fmla="*/ 6 h 182"/>
                <a:gd name="T46" fmla="*/ 183 w 192"/>
                <a:gd name="T47" fmla="*/ 13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2" h="182">
                  <a:moveTo>
                    <a:pt x="18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3"/>
                    <a:pt x="4" y="138"/>
                    <a:pt x="10" y="138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80" y="170"/>
                    <a:pt x="80" y="170"/>
                    <a:pt x="80" y="170"/>
                  </a:cubicBezTo>
                  <a:cubicBezTo>
                    <a:pt x="38" y="170"/>
                    <a:pt x="38" y="170"/>
                    <a:pt x="38" y="170"/>
                  </a:cubicBezTo>
                  <a:cubicBezTo>
                    <a:pt x="36" y="170"/>
                    <a:pt x="34" y="173"/>
                    <a:pt x="34" y="176"/>
                  </a:cubicBezTo>
                  <a:cubicBezTo>
                    <a:pt x="34" y="179"/>
                    <a:pt x="36" y="182"/>
                    <a:pt x="38" y="182"/>
                  </a:cubicBezTo>
                  <a:cubicBezTo>
                    <a:pt x="162" y="182"/>
                    <a:pt x="162" y="182"/>
                    <a:pt x="162" y="182"/>
                  </a:cubicBezTo>
                  <a:cubicBezTo>
                    <a:pt x="165" y="182"/>
                    <a:pt x="167" y="179"/>
                    <a:pt x="167" y="176"/>
                  </a:cubicBezTo>
                  <a:cubicBezTo>
                    <a:pt x="167" y="173"/>
                    <a:pt x="165" y="170"/>
                    <a:pt x="162" y="170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38"/>
                    <a:pt x="119" y="138"/>
                    <a:pt x="119" y="138"/>
                  </a:cubicBezTo>
                  <a:cubicBezTo>
                    <a:pt x="182" y="138"/>
                    <a:pt x="182" y="138"/>
                    <a:pt x="182" y="138"/>
                  </a:cubicBezTo>
                  <a:cubicBezTo>
                    <a:pt x="187" y="138"/>
                    <a:pt x="192" y="133"/>
                    <a:pt x="192" y="128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92" y="4"/>
                    <a:pt x="187" y="0"/>
                    <a:pt x="182" y="0"/>
                  </a:cubicBezTo>
                  <a:close/>
                  <a:moveTo>
                    <a:pt x="183" y="130"/>
                  </a:moveTo>
                  <a:cubicBezTo>
                    <a:pt x="10" y="130"/>
                    <a:pt x="10" y="130"/>
                    <a:pt x="10" y="13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3" y="6"/>
                    <a:pt x="183" y="6"/>
                    <a:pt x="183" y="6"/>
                  </a:cubicBezTo>
                  <a:lnTo>
                    <a:pt x="183" y="130"/>
                  </a:ln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Freeform 12">
              <a:extLst>
                <a:ext uri="{FF2B5EF4-FFF2-40B4-BE49-F238E27FC236}">
                  <a16:creationId xmlns:a16="http://schemas.microsoft.com/office/drawing/2014/main" id="{E1BFFB5A-3F28-4B13-994F-24D8E52A98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1538" y="1266825"/>
              <a:ext cx="192088" cy="411163"/>
            </a:xfrm>
            <a:custGeom>
              <a:avLst/>
              <a:gdLst>
                <a:gd name="T0" fmla="*/ 74 w 90"/>
                <a:gd name="T1" fmla="*/ 0 h 192"/>
                <a:gd name="T2" fmla="*/ 16 w 90"/>
                <a:gd name="T3" fmla="*/ 0 h 192"/>
                <a:gd name="T4" fmla="*/ 0 w 90"/>
                <a:gd name="T5" fmla="*/ 9 h 192"/>
                <a:gd name="T6" fmla="*/ 0 w 90"/>
                <a:gd name="T7" fmla="*/ 182 h 192"/>
                <a:gd name="T8" fmla="*/ 16 w 90"/>
                <a:gd name="T9" fmla="*/ 192 h 192"/>
                <a:gd name="T10" fmla="*/ 74 w 90"/>
                <a:gd name="T11" fmla="*/ 192 h 192"/>
                <a:gd name="T12" fmla="*/ 90 w 90"/>
                <a:gd name="T13" fmla="*/ 182 h 192"/>
                <a:gd name="T14" fmla="*/ 90 w 90"/>
                <a:gd name="T15" fmla="*/ 9 h 192"/>
                <a:gd name="T16" fmla="*/ 74 w 90"/>
                <a:gd name="T17" fmla="*/ 0 h 192"/>
                <a:gd name="T18" fmla="*/ 45 w 90"/>
                <a:gd name="T19" fmla="*/ 160 h 192"/>
                <a:gd name="T20" fmla="*/ 32 w 90"/>
                <a:gd name="T21" fmla="*/ 148 h 192"/>
                <a:gd name="T22" fmla="*/ 45 w 90"/>
                <a:gd name="T23" fmla="*/ 135 h 192"/>
                <a:gd name="T24" fmla="*/ 57 w 90"/>
                <a:gd name="T25" fmla="*/ 148 h 192"/>
                <a:gd name="T26" fmla="*/ 45 w 90"/>
                <a:gd name="T27" fmla="*/ 16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92">
                  <a:moveTo>
                    <a:pt x="7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8"/>
                    <a:pt x="7" y="192"/>
                    <a:pt x="16" y="192"/>
                  </a:cubicBezTo>
                  <a:cubicBezTo>
                    <a:pt x="74" y="192"/>
                    <a:pt x="74" y="192"/>
                    <a:pt x="74" y="192"/>
                  </a:cubicBezTo>
                  <a:cubicBezTo>
                    <a:pt x="83" y="192"/>
                    <a:pt x="90" y="188"/>
                    <a:pt x="90" y="182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4"/>
                    <a:pt x="83" y="0"/>
                    <a:pt x="74" y="0"/>
                  </a:cubicBezTo>
                  <a:close/>
                  <a:moveTo>
                    <a:pt x="45" y="160"/>
                  </a:moveTo>
                  <a:cubicBezTo>
                    <a:pt x="38" y="160"/>
                    <a:pt x="32" y="155"/>
                    <a:pt x="32" y="148"/>
                  </a:cubicBezTo>
                  <a:cubicBezTo>
                    <a:pt x="32" y="141"/>
                    <a:pt x="38" y="135"/>
                    <a:pt x="45" y="135"/>
                  </a:cubicBezTo>
                  <a:cubicBezTo>
                    <a:pt x="52" y="135"/>
                    <a:pt x="57" y="141"/>
                    <a:pt x="57" y="148"/>
                  </a:cubicBezTo>
                  <a:cubicBezTo>
                    <a:pt x="57" y="155"/>
                    <a:pt x="52" y="160"/>
                    <a:pt x="45" y="160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184" name="组合 183">
            <a:extLst>
              <a:ext uri="{FF2B5EF4-FFF2-40B4-BE49-F238E27FC236}">
                <a16:creationId xmlns:a16="http://schemas.microsoft.com/office/drawing/2014/main" id="{A41E6591-88E1-4802-824F-69A4BC0236D7}"/>
              </a:ext>
            </a:extLst>
          </p:cNvPr>
          <p:cNvGrpSpPr/>
          <p:nvPr/>
        </p:nvGrpSpPr>
        <p:grpSpPr>
          <a:xfrm>
            <a:off x="5678137" y="1169988"/>
            <a:ext cx="582613" cy="503237"/>
            <a:chOff x="7408863" y="1169988"/>
            <a:chExt cx="582613" cy="503237"/>
          </a:xfrm>
        </p:grpSpPr>
        <p:sp>
          <p:nvSpPr>
            <p:cNvPr id="185" name="Freeform 13">
              <a:extLst>
                <a:ext uri="{FF2B5EF4-FFF2-40B4-BE49-F238E27FC236}">
                  <a16:creationId xmlns:a16="http://schemas.microsoft.com/office/drawing/2014/main" id="{4C3FB403-3843-4DDB-98A2-B84D61E40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6975" y="1404938"/>
              <a:ext cx="304800" cy="115888"/>
            </a:xfrm>
            <a:custGeom>
              <a:avLst/>
              <a:gdLst>
                <a:gd name="T0" fmla="*/ 16 w 142"/>
                <a:gd name="T1" fmla="*/ 53 h 54"/>
                <a:gd name="T2" fmla="*/ 6 w 142"/>
                <a:gd name="T3" fmla="*/ 48 h 54"/>
                <a:gd name="T4" fmla="*/ 6 w 142"/>
                <a:gd name="T5" fmla="*/ 27 h 54"/>
                <a:gd name="T6" fmla="*/ 71 w 142"/>
                <a:gd name="T7" fmla="*/ 0 h 54"/>
                <a:gd name="T8" fmla="*/ 71 w 142"/>
                <a:gd name="T9" fmla="*/ 0 h 54"/>
                <a:gd name="T10" fmla="*/ 136 w 142"/>
                <a:gd name="T11" fmla="*/ 26 h 54"/>
                <a:gd name="T12" fmla="*/ 136 w 142"/>
                <a:gd name="T13" fmla="*/ 48 h 54"/>
                <a:gd name="T14" fmla="*/ 114 w 142"/>
                <a:gd name="T15" fmla="*/ 48 h 54"/>
                <a:gd name="T16" fmla="*/ 71 w 142"/>
                <a:gd name="T17" fmla="*/ 30 h 54"/>
                <a:gd name="T18" fmla="*/ 71 w 142"/>
                <a:gd name="T19" fmla="*/ 30 h 54"/>
                <a:gd name="T20" fmla="*/ 27 w 142"/>
                <a:gd name="T21" fmla="*/ 48 h 54"/>
                <a:gd name="T22" fmla="*/ 16 w 142"/>
                <a:gd name="T23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2" h="54">
                  <a:moveTo>
                    <a:pt x="16" y="53"/>
                  </a:moveTo>
                  <a:cubicBezTo>
                    <a:pt x="13" y="53"/>
                    <a:pt x="9" y="51"/>
                    <a:pt x="6" y="48"/>
                  </a:cubicBezTo>
                  <a:cubicBezTo>
                    <a:pt x="0" y="42"/>
                    <a:pt x="0" y="33"/>
                    <a:pt x="6" y="27"/>
                  </a:cubicBezTo>
                  <a:cubicBezTo>
                    <a:pt x="23" y="9"/>
                    <a:pt x="46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118" y="9"/>
                    <a:pt x="136" y="26"/>
                  </a:cubicBezTo>
                  <a:cubicBezTo>
                    <a:pt x="142" y="32"/>
                    <a:pt x="142" y="42"/>
                    <a:pt x="136" y="48"/>
                  </a:cubicBezTo>
                  <a:cubicBezTo>
                    <a:pt x="130" y="54"/>
                    <a:pt x="120" y="54"/>
                    <a:pt x="114" y="48"/>
                  </a:cubicBezTo>
                  <a:cubicBezTo>
                    <a:pt x="102" y="37"/>
                    <a:pt x="87" y="30"/>
                    <a:pt x="71" y="30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54" y="30"/>
                    <a:pt x="39" y="37"/>
                    <a:pt x="27" y="48"/>
                  </a:cubicBezTo>
                  <a:cubicBezTo>
                    <a:pt x="24" y="51"/>
                    <a:pt x="20" y="53"/>
                    <a:pt x="16" y="53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Freeform 14">
              <a:extLst>
                <a:ext uri="{FF2B5EF4-FFF2-40B4-BE49-F238E27FC236}">
                  <a16:creationId xmlns:a16="http://schemas.microsoft.com/office/drawing/2014/main" id="{4E22DB6D-CF67-41E8-8871-9915AAF2B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5" y="1306513"/>
              <a:ext cx="442913" cy="146050"/>
            </a:xfrm>
            <a:custGeom>
              <a:avLst/>
              <a:gdLst>
                <a:gd name="T0" fmla="*/ 17 w 207"/>
                <a:gd name="T1" fmla="*/ 66 h 68"/>
                <a:gd name="T2" fmla="*/ 6 w 207"/>
                <a:gd name="T3" fmla="*/ 62 h 68"/>
                <a:gd name="T4" fmla="*/ 6 w 207"/>
                <a:gd name="T5" fmla="*/ 40 h 68"/>
                <a:gd name="T6" fmla="*/ 104 w 207"/>
                <a:gd name="T7" fmla="*/ 0 h 68"/>
                <a:gd name="T8" fmla="*/ 104 w 207"/>
                <a:gd name="T9" fmla="*/ 0 h 68"/>
                <a:gd name="T10" fmla="*/ 201 w 207"/>
                <a:gd name="T11" fmla="*/ 40 h 68"/>
                <a:gd name="T12" fmla="*/ 201 w 207"/>
                <a:gd name="T13" fmla="*/ 62 h 68"/>
                <a:gd name="T14" fmla="*/ 180 w 207"/>
                <a:gd name="T15" fmla="*/ 62 h 68"/>
                <a:gd name="T16" fmla="*/ 104 w 207"/>
                <a:gd name="T17" fmla="*/ 30 h 68"/>
                <a:gd name="T18" fmla="*/ 104 w 207"/>
                <a:gd name="T19" fmla="*/ 30 h 68"/>
                <a:gd name="T20" fmla="*/ 28 w 207"/>
                <a:gd name="T21" fmla="*/ 62 h 68"/>
                <a:gd name="T22" fmla="*/ 17 w 207"/>
                <a:gd name="T23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68">
                  <a:moveTo>
                    <a:pt x="17" y="66"/>
                  </a:moveTo>
                  <a:cubicBezTo>
                    <a:pt x="13" y="66"/>
                    <a:pt x="9" y="65"/>
                    <a:pt x="6" y="62"/>
                  </a:cubicBezTo>
                  <a:cubicBezTo>
                    <a:pt x="0" y="56"/>
                    <a:pt x="0" y="46"/>
                    <a:pt x="6" y="40"/>
                  </a:cubicBezTo>
                  <a:cubicBezTo>
                    <a:pt x="32" y="14"/>
                    <a:pt x="67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41" y="0"/>
                    <a:pt x="175" y="14"/>
                    <a:pt x="201" y="40"/>
                  </a:cubicBezTo>
                  <a:cubicBezTo>
                    <a:pt x="207" y="46"/>
                    <a:pt x="207" y="56"/>
                    <a:pt x="201" y="62"/>
                  </a:cubicBezTo>
                  <a:cubicBezTo>
                    <a:pt x="195" y="68"/>
                    <a:pt x="186" y="68"/>
                    <a:pt x="180" y="62"/>
                  </a:cubicBezTo>
                  <a:cubicBezTo>
                    <a:pt x="159" y="41"/>
                    <a:pt x="132" y="30"/>
                    <a:pt x="104" y="30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75" y="30"/>
                    <a:pt x="48" y="41"/>
                    <a:pt x="28" y="62"/>
                  </a:cubicBezTo>
                  <a:cubicBezTo>
                    <a:pt x="25" y="65"/>
                    <a:pt x="21" y="66"/>
                    <a:pt x="17" y="66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Freeform 15">
              <a:extLst>
                <a:ext uri="{FF2B5EF4-FFF2-40B4-BE49-F238E27FC236}">
                  <a16:creationId xmlns:a16="http://schemas.microsoft.com/office/drawing/2014/main" id="{AEE5ADDE-2D7D-44F1-BFD4-B2DF2FF3E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8863" y="1169988"/>
              <a:ext cx="582613" cy="211138"/>
            </a:xfrm>
            <a:custGeom>
              <a:avLst/>
              <a:gdLst>
                <a:gd name="T0" fmla="*/ 16 w 272"/>
                <a:gd name="T1" fmla="*/ 98 h 99"/>
                <a:gd name="T2" fmla="*/ 6 w 272"/>
                <a:gd name="T3" fmla="*/ 93 h 99"/>
                <a:gd name="T4" fmla="*/ 6 w 272"/>
                <a:gd name="T5" fmla="*/ 72 h 99"/>
                <a:gd name="T6" fmla="*/ 266 w 272"/>
                <a:gd name="T7" fmla="*/ 71 h 99"/>
                <a:gd name="T8" fmla="*/ 266 w 272"/>
                <a:gd name="T9" fmla="*/ 93 h 99"/>
                <a:gd name="T10" fmla="*/ 244 w 272"/>
                <a:gd name="T11" fmla="*/ 93 h 99"/>
                <a:gd name="T12" fmla="*/ 27 w 272"/>
                <a:gd name="T13" fmla="*/ 93 h 99"/>
                <a:gd name="T14" fmla="*/ 16 w 272"/>
                <a:gd name="T15" fmla="*/ 9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99">
                  <a:moveTo>
                    <a:pt x="16" y="98"/>
                  </a:moveTo>
                  <a:cubicBezTo>
                    <a:pt x="12" y="98"/>
                    <a:pt x="9" y="96"/>
                    <a:pt x="6" y="93"/>
                  </a:cubicBezTo>
                  <a:cubicBezTo>
                    <a:pt x="0" y="87"/>
                    <a:pt x="0" y="78"/>
                    <a:pt x="6" y="72"/>
                  </a:cubicBezTo>
                  <a:cubicBezTo>
                    <a:pt x="77" y="0"/>
                    <a:pt x="194" y="0"/>
                    <a:pt x="266" y="71"/>
                  </a:cubicBezTo>
                  <a:cubicBezTo>
                    <a:pt x="272" y="77"/>
                    <a:pt x="272" y="87"/>
                    <a:pt x="266" y="93"/>
                  </a:cubicBezTo>
                  <a:cubicBezTo>
                    <a:pt x="260" y="99"/>
                    <a:pt x="250" y="99"/>
                    <a:pt x="244" y="93"/>
                  </a:cubicBezTo>
                  <a:cubicBezTo>
                    <a:pt x="184" y="33"/>
                    <a:pt x="87" y="33"/>
                    <a:pt x="27" y="93"/>
                  </a:cubicBezTo>
                  <a:cubicBezTo>
                    <a:pt x="24" y="96"/>
                    <a:pt x="20" y="98"/>
                    <a:pt x="16" y="98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Freeform 16">
              <a:extLst>
                <a:ext uri="{FF2B5EF4-FFF2-40B4-BE49-F238E27FC236}">
                  <a16:creationId xmlns:a16="http://schemas.microsoft.com/office/drawing/2014/main" id="{7F9B9512-DDC9-4E53-B58B-4915B3564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350" y="1530350"/>
              <a:ext cx="144463" cy="142875"/>
            </a:xfrm>
            <a:custGeom>
              <a:avLst/>
              <a:gdLst>
                <a:gd name="T0" fmla="*/ 55 w 67"/>
                <a:gd name="T1" fmla="*/ 12 h 67"/>
                <a:gd name="T2" fmla="*/ 55 w 67"/>
                <a:gd name="T3" fmla="*/ 55 h 67"/>
                <a:gd name="T4" fmla="*/ 12 w 67"/>
                <a:gd name="T5" fmla="*/ 55 h 67"/>
                <a:gd name="T6" fmla="*/ 12 w 67"/>
                <a:gd name="T7" fmla="*/ 12 h 67"/>
                <a:gd name="T8" fmla="*/ 55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5" y="12"/>
                  </a:moveTo>
                  <a:cubicBezTo>
                    <a:pt x="67" y="24"/>
                    <a:pt x="67" y="43"/>
                    <a:pt x="55" y="55"/>
                  </a:cubicBezTo>
                  <a:cubicBezTo>
                    <a:pt x="43" y="67"/>
                    <a:pt x="24" y="67"/>
                    <a:pt x="12" y="55"/>
                  </a:cubicBezTo>
                  <a:cubicBezTo>
                    <a:pt x="0" y="43"/>
                    <a:pt x="0" y="24"/>
                    <a:pt x="12" y="12"/>
                  </a:cubicBezTo>
                  <a:cubicBezTo>
                    <a:pt x="24" y="0"/>
                    <a:pt x="43" y="0"/>
                    <a:pt x="55" y="12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Freeform 17">
              <a:extLst>
                <a:ext uri="{FF2B5EF4-FFF2-40B4-BE49-F238E27FC236}">
                  <a16:creationId xmlns:a16="http://schemas.microsoft.com/office/drawing/2014/main" id="{73A051D3-B994-4FA8-9727-9E227BBAE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6688" y="1558925"/>
              <a:ext cx="57150" cy="84138"/>
            </a:xfrm>
            <a:custGeom>
              <a:avLst/>
              <a:gdLst>
                <a:gd name="T0" fmla="*/ 11 w 26"/>
                <a:gd name="T1" fmla="*/ 1 h 39"/>
                <a:gd name="T2" fmla="*/ 0 w 26"/>
                <a:gd name="T3" fmla="*/ 17 h 39"/>
                <a:gd name="T4" fmla="*/ 2 w 26"/>
                <a:gd name="T5" fmla="*/ 18 h 39"/>
                <a:gd name="T6" fmla="*/ 6 w 26"/>
                <a:gd name="T7" fmla="*/ 18 h 39"/>
                <a:gd name="T8" fmla="*/ 6 w 26"/>
                <a:gd name="T9" fmla="*/ 38 h 39"/>
                <a:gd name="T10" fmla="*/ 7 w 26"/>
                <a:gd name="T11" fmla="*/ 39 h 39"/>
                <a:gd name="T12" fmla="*/ 18 w 26"/>
                <a:gd name="T13" fmla="*/ 39 h 39"/>
                <a:gd name="T14" fmla="*/ 20 w 26"/>
                <a:gd name="T15" fmla="*/ 38 h 39"/>
                <a:gd name="T16" fmla="*/ 20 w 26"/>
                <a:gd name="T17" fmla="*/ 18 h 39"/>
                <a:gd name="T18" fmla="*/ 24 w 26"/>
                <a:gd name="T19" fmla="*/ 18 h 39"/>
                <a:gd name="T20" fmla="*/ 26 w 26"/>
                <a:gd name="T21" fmla="*/ 17 h 39"/>
                <a:gd name="T22" fmla="*/ 14 w 26"/>
                <a:gd name="T23" fmla="*/ 1 h 39"/>
                <a:gd name="T24" fmla="*/ 13 w 26"/>
                <a:gd name="T25" fmla="*/ 0 h 39"/>
                <a:gd name="T26" fmla="*/ 11 w 26"/>
                <a:gd name="T27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9">
                  <a:moveTo>
                    <a:pt x="11" y="1"/>
                  </a:moveTo>
                  <a:cubicBezTo>
                    <a:pt x="11" y="1"/>
                    <a:pt x="0" y="16"/>
                    <a:pt x="0" y="17"/>
                  </a:cubicBezTo>
                  <a:cubicBezTo>
                    <a:pt x="0" y="18"/>
                    <a:pt x="1" y="18"/>
                    <a:pt x="2" y="18"/>
                  </a:cubicBezTo>
                  <a:cubicBezTo>
                    <a:pt x="2" y="18"/>
                    <a:pt x="3" y="18"/>
                    <a:pt x="6" y="1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9"/>
                    <a:pt x="6" y="39"/>
                    <a:pt x="7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9"/>
                    <a:pt x="20" y="39"/>
                    <a:pt x="20" y="3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8"/>
                    <a:pt x="24" y="18"/>
                  </a:cubicBezTo>
                  <a:cubicBezTo>
                    <a:pt x="25" y="18"/>
                    <a:pt x="26" y="18"/>
                    <a:pt x="26" y="17"/>
                  </a:cubicBezTo>
                  <a:cubicBezTo>
                    <a:pt x="26" y="16"/>
                    <a:pt x="15" y="1"/>
                    <a:pt x="14" y="1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2" y="0"/>
                    <a:pt x="12" y="0"/>
                    <a:pt x="11" y="1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Freeform 18">
              <a:extLst>
                <a:ext uri="{FF2B5EF4-FFF2-40B4-BE49-F238E27FC236}">
                  <a16:creationId xmlns:a16="http://schemas.microsoft.com/office/drawing/2014/main" id="{4264E551-D51C-4073-A145-9CCA755B9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500" y="1558925"/>
              <a:ext cx="52388" cy="84138"/>
            </a:xfrm>
            <a:custGeom>
              <a:avLst/>
              <a:gdLst>
                <a:gd name="T0" fmla="*/ 14 w 25"/>
                <a:gd name="T1" fmla="*/ 38 h 39"/>
                <a:gd name="T2" fmla="*/ 25 w 25"/>
                <a:gd name="T3" fmla="*/ 22 h 39"/>
                <a:gd name="T4" fmla="*/ 24 w 25"/>
                <a:gd name="T5" fmla="*/ 21 h 39"/>
                <a:gd name="T6" fmla="*/ 20 w 25"/>
                <a:gd name="T7" fmla="*/ 21 h 39"/>
                <a:gd name="T8" fmla="*/ 20 w 25"/>
                <a:gd name="T9" fmla="*/ 1 h 39"/>
                <a:gd name="T10" fmla="*/ 18 w 25"/>
                <a:gd name="T11" fmla="*/ 0 h 39"/>
                <a:gd name="T12" fmla="*/ 7 w 25"/>
                <a:gd name="T13" fmla="*/ 0 h 39"/>
                <a:gd name="T14" fmla="*/ 5 w 25"/>
                <a:gd name="T15" fmla="*/ 1 h 39"/>
                <a:gd name="T16" fmla="*/ 5 w 25"/>
                <a:gd name="T17" fmla="*/ 21 h 39"/>
                <a:gd name="T18" fmla="*/ 1 w 25"/>
                <a:gd name="T19" fmla="*/ 21 h 39"/>
                <a:gd name="T20" fmla="*/ 0 w 25"/>
                <a:gd name="T21" fmla="*/ 22 h 39"/>
                <a:gd name="T22" fmla="*/ 11 w 25"/>
                <a:gd name="T23" fmla="*/ 38 h 39"/>
                <a:gd name="T24" fmla="*/ 12 w 25"/>
                <a:gd name="T25" fmla="*/ 39 h 39"/>
                <a:gd name="T26" fmla="*/ 14 w 25"/>
                <a:gd name="T27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9">
                  <a:moveTo>
                    <a:pt x="14" y="38"/>
                  </a:moveTo>
                  <a:cubicBezTo>
                    <a:pt x="14" y="38"/>
                    <a:pt x="25" y="23"/>
                    <a:pt x="25" y="22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4" y="21"/>
                    <a:pt x="22" y="21"/>
                    <a:pt x="20" y="2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1" y="21"/>
                    <a:pt x="1" y="21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3"/>
                    <a:pt x="11" y="38"/>
                    <a:pt x="11" y="38"/>
                  </a:cubicBezTo>
                  <a:cubicBezTo>
                    <a:pt x="11" y="39"/>
                    <a:pt x="12" y="39"/>
                    <a:pt x="12" y="39"/>
                  </a:cubicBezTo>
                  <a:cubicBezTo>
                    <a:pt x="13" y="39"/>
                    <a:pt x="14" y="39"/>
                    <a:pt x="14" y="38"/>
                  </a:cubicBezTo>
                  <a:close/>
                </a:path>
              </a:pathLst>
            </a:custGeom>
            <a:solidFill>
              <a:srgbClr val="4B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91" name="Freeform 19">
            <a:extLst>
              <a:ext uri="{FF2B5EF4-FFF2-40B4-BE49-F238E27FC236}">
                <a16:creationId xmlns:a16="http://schemas.microsoft.com/office/drawing/2014/main" id="{750704C2-B76C-41F5-B9D8-A103D99455D0}"/>
              </a:ext>
            </a:extLst>
          </p:cNvPr>
          <p:cNvSpPr>
            <a:spLocks/>
          </p:cNvSpPr>
          <p:nvPr/>
        </p:nvSpPr>
        <p:spPr bwMode="auto">
          <a:xfrm>
            <a:off x="5605294" y="3835118"/>
            <a:ext cx="514350" cy="514350"/>
          </a:xfrm>
          <a:custGeom>
            <a:avLst/>
            <a:gdLst>
              <a:gd name="T0" fmla="*/ 194 w 240"/>
              <a:gd name="T1" fmla="*/ 157 h 240"/>
              <a:gd name="T2" fmla="*/ 163 w 240"/>
              <a:gd name="T3" fmla="*/ 167 h 240"/>
              <a:gd name="T4" fmla="*/ 92 w 240"/>
              <a:gd name="T5" fmla="*/ 127 h 240"/>
              <a:gd name="T6" fmla="*/ 92 w 240"/>
              <a:gd name="T7" fmla="*/ 120 h 240"/>
              <a:gd name="T8" fmla="*/ 165 w 240"/>
              <a:gd name="T9" fmla="*/ 78 h 240"/>
              <a:gd name="T10" fmla="*/ 189 w 240"/>
              <a:gd name="T11" fmla="*/ 84 h 240"/>
              <a:gd name="T12" fmla="*/ 235 w 240"/>
              <a:gd name="T13" fmla="*/ 42 h 240"/>
              <a:gd name="T14" fmla="*/ 189 w 240"/>
              <a:gd name="T15" fmla="*/ 0 h 240"/>
              <a:gd name="T16" fmla="*/ 143 w 240"/>
              <a:gd name="T17" fmla="*/ 42 h 240"/>
              <a:gd name="T18" fmla="*/ 145 w 240"/>
              <a:gd name="T19" fmla="*/ 55 h 240"/>
              <a:gd name="T20" fmla="*/ 75 w 240"/>
              <a:gd name="T21" fmla="*/ 95 h 240"/>
              <a:gd name="T22" fmla="*/ 46 w 240"/>
              <a:gd name="T23" fmla="*/ 85 h 240"/>
              <a:gd name="T24" fmla="*/ 0 w 240"/>
              <a:gd name="T25" fmla="*/ 127 h 240"/>
              <a:gd name="T26" fmla="*/ 46 w 240"/>
              <a:gd name="T27" fmla="*/ 169 h 240"/>
              <a:gd name="T28" fmla="*/ 81 w 240"/>
              <a:gd name="T29" fmla="*/ 155 h 240"/>
              <a:gd name="T30" fmla="*/ 148 w 240"/>
              <a:gd name="T31" fmla="*/ 193 h 240"/>
              <a:gd name="T32" fmla="*/ 148 w 240"/>
              <a:gd name="T33" fmla="*/ 198 h 240"/>
              <a:gd name="T34" fmla="*/ 194 w 240"/>
              <a:gd name="T35" fmla="*/ 240 h 240"/>
              <a:gd name="T36" fmla="*/ 240 w 240"/>
              <a:gd name="T37" fmla="*/ 198 h 240"/>
              <a:gd name="T38" fmla="*/ 194 w 240"/>
              <a:gd name="T39" fmla="*/ 157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0" h="240">
                <a:moveTo>
                  <a:pt x="194" y="157"/>
                </a:moveTo>
                <a:cubicBezTo>
                  <a:pt x="182" y="157"/>
                  <a:pt x="171" y="161"/>
                  <a:pt x="163" y="167"/>
                </a:cubicBezTo>
                <a:cubicBezTo>
                  <a:pt x="92" y="127"/>
                  <a:pt x="92" y="127"/>
                  <a:pt x="92" y="127"/>
                </a:cubicBezTo>
                <a:cubicBezTo>
                  <a:pt x="92" y="124"/>
                  <a:pt x="92" y="122"/>
                  <a:pt x="92" y="120"/>
                </a:cubicBezTo>
                <a:cubicBezTo>
                  <a:pt x="165" y="78"/>
                  <a:pt x="165" y="78"/>
                  <a:pt x="165" y="78"/>
                </a:cubicBezTo>
                <a:cubicBezTo>
                  <a:pt x="172" y="82"/>
                  <a:pt x="180" y="84"/>
                  <a:pt x="189" y="84"/>
                </a:cubicBezTo>
                <a:cubicBezTo>
                  <a:pt x="215" y="84"/>
                  <a:pt x="235" y="65"/>
                  <a:pt x="235" y="42"/>
                </a:cubicBezTo>
                <a:cubicBezTo>
                  <a:pt x="235" y="19"/>
                  <a:pt x="215" y="0"/>
                  <a:pt x="189" y="0"/>
                </a:cubicBezTo>
                <a:cubicBezTo>
                  <a:pt x="164" y="0"/>
                  <a:pt x="143" y="19"/>
                  <a:pt x="143" y="42"/>
                </a:cubicBezTo>
                <a:cubicBezTo>
                  <a:pt x="143" y="47"/>
                  <a:pt x="144" y="51"/>
                  <a:pt x="145" y="55"/>
                </a:cubicBezTo>
                <a:cubicBezTo>
                  <a:pt x="75" y="95"/>
                  <a:pt x="75" y="95"/>
                  <a:pt x="75" y="95"/>
                </a:cubicBezTo>
                <a:cubicBezTo>
                  <a:pt x="67" y="89"/>
                  <a:pt x="57" y="85"/>
                  <a:pt x="46" y="85"/>
                </a:cubicBezTo>
                <a:cubicBezTo>
                  <a:pt x="21" y="85"/>
                  <a:pt x="0" y="104"/>
                  <a:pt x="0" y="127"/>
                </a:cubicBezTo>
                <a:cubicBezTo>
                  <a:pt x="0" y="150"/>
                  <a:pt x="21" y="169"/>
                  <a:pt x="46" y="169"/>
                </a:cubicBezTo>
                <a:cubicBezTo>
                  <a:pt x="60" y="169"/>
                  <a:pt x="73" y="164"/>
                  <a:pt x="81" y="155"/>
                </a:cubicBezTo>
                <a:cubicBezTo>
                  <a:pt x="148" y="193"/>
                  <a:pt x="148" y="193"/>
                  <a:pt x="148" y="193"/>
                </a:cubicBezTo>
                <a:cubicBezTo>
                  <a:pt x="148" y="195"/>
                  <a:pt x="148" y="197"/>
                  <a:pt x="148" y="198"/>
                </a:cubicBezTo>
                <a:cubicBezTo>
                  <a:pt x="148" y="221"/>
                  <a:pt x="168" y="240"/>
                  <a:pt x="194" y="240"/>
                </a:cubicBezTo>
                <a:cubicBezTo>
                  <a:pt x="219" y="240"/>
                  <a:pt x="240" y="221"/>
                  <a:pt x="240" y="198"/>
                </a:cubicBezTo>
                <a:cubicBezTo>
                  <a:pt x="240" y="175"/>
                  <a:pt x="219" y="157"/>
                  <a:pt x="194" y="157"/>
                </a:cubicBezTo>
                <a:close/>
              </a:path>
            </a:pathLst>
          </a:custGeom>
          <a:solidFill>
            <a:srgbClr val="4B48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2" name="Freeform 20">
            <a:extLst>
              <a:ext uri="{FF2B5EF4-FFF2-40B4-BE49-F238E27FC236}">
                <a16:creationId xmlns:a16="http://schemas.microsoft.com/office/drawing/2014/main" id="{14508C47-091D-4DB8-B7A1-1664F77037AC}"/>
              </a:ext>
            </a:extLst>
          </p:cNvPr>
          <p:cNvSpPr>
            <a:spLocks noEditPoints="1"/>
          </p:cNvSpPr>
          <p:nvPr/>
        </p:nvSpPr>
        <p:spPr bwMode="auto">
          <a:xfrm>
            <a:off x="8567127" y="5258745"/>
            <a:ext cx="496888" cy="398463"/>
          </a:xfrm>
          <a:custGeom>
            <a:avLst/>
            <a:gdLst>
              <a:gd name="T0" fmla="*/ 227 w 232"/>
              <a:gd name="T1" fmla="*/ 0 h 186"/>
              <a:gd name="T2" fmla="*/ 213 w 232"/>
              <a:gd name="T3" fmla="*/ 0 h 186"/>
              <a:gd name="T4" fmla="*/ 208 w 232"/>
              <a:gd name="T5" fmla="*/ 5 h 186"/>
              <a:gd name="T6" fmla="*/ 208 w 232"/>
              <a:gd name="T7" fmla="*/ 28 h 186"/>
              <a:gd name="T8" fmla="*/ 24 w 232"/>
              <a:gd name="T9" fmla="*/ 28 h 186"/>
              <a:gd name="T10" fmla="*/ 24 w 232"/>
              <a:gd name="T11" fmla="*/ 5 h 186"/>
              <a:gd name="T12" fmla="*/ 19 w 232"/>
              <a:gd name="T13" fmla="*/ 0 h 186"/>
              <a:gd name="T14" fmla="*/ 5 w 232"/>
              <a:gd name="T15" fmla="*/ 0 h 186"/>
              <a:gd name="T16" fmla="*/ 0 w 232"/>
              <a:gd name="T17" fmla="*/ 5 h 186"/>
              <a:gd name="T18" fmla="*/ 0 w 232"/>
              <a:gd name="T19" fmla="*/ 180 h 186"/>
              <a:gd name="T20" fmla="*/ 5 w 232"/>
              <a:gd name="T21" fmla="*/ 186 h 186"/>
              <a:gd name="T22" fmla="*/ 19 w 232"/>
              <a:gd name="T23" fmla="*/ 186 h 186"/>
              <a:gd name="T24" fmla="*/ 24 w 232"/>
              <a:gd name="T25" fmla="*/ 180 h 186"/>
              <a:gd name="T26" fmla="*/ 24 w 232"/>
              <a:gd name="T27" fmla="*/ 157 h 186"/>
              <a:gd name="T28" fmla="*/ 208 w 232"/>
              <a:gd name="T29" fmla="*/ 157 h 186"/>
              <a:gd name="T30" fmla="*/ 208 w 232"/>
              <a:gd name="T31" fmla="*/ 180 h 186"/>
              <a:gd name="T32" fmla="*/ 213 w 232"/>
              <a:gd name="T33" fmla="*/ 186 h 186"/>
              <a:gd name="T34" fmla="*/ 227 w 232"/>
              <a:gd name="T35" fmla="*/ 186 h 186"/>
              <a:gd name="T36" fmla="*/ 232 w 232"/>
              <a:gd name="T37" fmla="*/ 180 h 186"/>
              <a:gd name="T38" fmla="*/ 232 w 232"/>
              <a:gd name="T39" fmla="*/ 5 h 186"/>
              <a:gd name="T40" fmla="*/ 227 w 232"/>
              <a:gd name="T41" fmla="*/ 0 h 186"/>
              <a:gd name="T42" fmla="*/ 157 w 232"/>
              <a:gd name="T43" fmla="*/ 98 h 186"/>
              <a:gd name="T44" fmla="*/ 97 w 232"/>
              <a:gd name="T45" fmla="*/ 135 h 186"/>
              <a:gd name="T46" fmla="*/ 92 w 232"/>
              <a:gd name="T47" fmla="*/ 130 h 186"/>
              <a:gd name="T48" fmla="*/ 92 w 232"/>
              <a:gd name="T49" fmla="*/ 56 h 186"/>
              <a:gd name="T50" fmla="*/ 97 w 232"/>
              <a:gd name="T51" fmla="*/ 50 h 186"/>
              <a:gd name="T52" fmla="*/ 157 w 232"/>
              <a:gd name="T53" fmla="*/ 87 h 186"/>
              <a:gd name="T54" fmla="*/ 162 w 232"/>
              <a:gd name="T55" fmla="*/ 93 h 186"/>
              <a:gd name="T56" fmla="*/ 157 w 232"/>
              <a:gd name="T57" fmla="*/ 98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32" h="186">
                <a:moveTo>
                  <a:pt x="227" y="0"/>
                </a:moveTo>
                <a:cubicBezTo>
                  <a:pt x="213" y="0"/>
                  <a:pt x="213" y="0"/>
                  <a:pt x="213" y="0"/>
                </a:cubicBezTo>
                <a:cubicBezTo>
                  <a:pt x="210" y="0"/>
                  <a:pt x="208" y="2"/>
                  <a:pt x="208" y="5"/>
                </a:cubicBezTo>
                <a:cubicBezTo>
                  <a:pt x="208" y="28"/>
                  <a:pt x="208" y="28"/>
                  <a:pt x="208" y="28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5"/>
                  <a:pt x="24" y="5"/>
                  <a:pt x="24" y="5"/>
                </a:cubicBezTo>
                <a:cubicBezTo>
                  <a:pt x="24" y="2"/>
                  <a:pt x="22" y="0"/>
                  <a:pt x="19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80"/>
                  <a:pt x="0" y="180"/>
                  <a:pt x="0" y="180"/>
                </a:cubicBezTo>
                <a:cubicBezTo>
                  <a:pt x="0" y="183"/>
                  <a:pt x="2" y="186"/>
                  <a:pt x="5" y="186"/>
                </a:cubicBezTo>
                <a:cubicBezTo>
                  <a:pt x="19" y="186"/>
                  <a:pt x="19" y="186"/>
                  <a:pt x="19" y="186"/>
                </a:cubicBezTo>
                <a:cubicBezTo>
                  <a:pt x="22" y="186"/>
                  <a:pt x="24" y="183"/>
                  <a:pt x="24" y="180"/>
                </a:cubicBezTo>
                <a:cubicBezTo>
                  <a:pt x="24" y="157"/>
                  <a:pt x="24" y="157"/>
                  <a:pt x="24" y="157"/>
                </a:cubicBezTo>
                <a:cubicBezTo>
                  <a:pt x="208" y="157"/>
                  <a:pt x="208" y="157"/>
                  <a:pt x="208" y="157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183"/>
                  <a:pt x="210" y="186"/>
                  <a:pt x="213" y="186"/>
                </a:cubicBezTo>
                <a:cubicBezTo>
                  <a:pt x="227" y="186"/>
                  <a:pt x="227" y="186"/>
                  <a:pt x="227" y="186"/>
                </a:cubicBezTo>
                <a:cubicBezTo>
                  <a:pt x="230" y="186"/>
                  <a:pt x="232" y="183"/>
                  <a:pt x="232" y="180"/>
                </a:cubicBezTo>
                <a:cubicBezTo>
                  <a:pt x="232" y="5"/>
                  <a:pt x="232" y="5"/>
                  <a:pt x="232" y="5"/>
                </a:cubicBezTo>
                <a:cubicBezTo>
                  <a:pt x="232" y="2"/>
                  <a:pt x="230" y="0"/>
                  <a:pt x="227" y="0"/>
                </a:cubicBezTo>
                <a:close/>
                <a:moveTo>
                  <a:pt x="157" y="98"/>
                </a:moveTo>
                <a:cubicBezTo>
                  <a:pt x="156" y="98"/>
                  <a:pt x="100" y="135"/>
                  <a:pt x="97" y="135"/>
                </a:cubicBezTo>
                <a:cubicBezTo>
                  <a:pt x="95" y="135"/>
                  <a:pt x="92" y="133"/>
                  <a:pt x="92" y="130"/>
                </a:cubicBezTo>
                <a:cubicBezTo>
                  <a:pt x="92" y="128"/>
                  <a:pt x="92" y="57"/>
                  <a:pt x="92" y="56"/>
                </a:cubicBezTo>
                <a:cubicBezTo>
                  <a:pt x="92" y="53"/>
                  <a:pt x="95" y="50"/>
                  <a:pt x="97" y="50"/>
                </a:cubicBezTo>
                <a:cubicBezTo>
                  <a:pt x="100" y="50"/>
                  <a:pt x="156" y="87"/>
                  <a:pt x="157" y="87"/>
                </a:cubicBezTo>
                <a:cubicBezTo>
                  <a:pt x="159" y="89"/>
                  <a:pt x="162" y="90"/>
                  <a:pt x="162" y="93"/>
                </a:cubicBezTo>
                <a:cubicBezTo>
                  <a:pt x="162" y="96"/>
                  <a:pt x="159" y="96"/>
                  <a:pt x="157" y="98"/>
                </a:cubicBezTo>
                <a:close/>
              </a:path>
            </a:pathLst>
          </a:custGeom>
          <a:solidFill>
            <a:srgbClr val="4B48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3" name="文本框 192">
            <a:extLst>
              <a:ext uri="{FF2B5EF4-FFF2-40B4-BE49-F238E27FC236}">
                <a16:creationId xmlns:a16="http://schemas.microsoft.com/office/drawing/2014/main" id="{ECD08575-2F38-483F-AC9A-72D7BA459538}"/>
              </a:ext>
            </a:extLst>
          </p:cNvPr>
          <p:cNvSpPr txBox="1"/>
          <p:nvPr/>
        </p:nvSpPr>
        <p:spPr>
          <a:xfrm>
            <a:off x="7061004" y="1052510"/>
            <a:ext cx="6559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1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94" name="文本框 193">
            <a:extLst>
              <a:ext uri="{FF2B5EF4-FFF2-40B4-BE49-F238E27FC236}">
                <a16:creationId xmlns:a16="http://schemas.microsoft.com/office/drawing/2014/main" id="{439C37EE-FAC2-44FE-8C2F-5531F5355534}"/>
              </a:ext>
            </a:extLst>
          </p:cNvPr>
          <p:cNvSpPr txBox="1"/>
          <p:nvPr/>
        </p:nvSpPr>
        <p:spPr>
          <a:xfrm>
            <a:off x="7061004" y="2415582"/>
            <a:ext cx="7184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2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95" name="文本框 194">
            <a:extLst>
              <a:ext uri="{FF2B5EF4-FFF2-40B4-BE49-F238E27FC236}">
                <a16:creationId xmlns:a16="http://schemas.microsoft.com/office/drawing/2014/main" id="{640BD5AF-B504-411A-899D-FE8B501162A9}"/>
              </a:ext>
            </a:extLst>
          </p:cNvPr>
          <p:cNvSpPr txBox="1"/>
          <p:nvPr/>
        </p:nvSpPr>
        <p:spPr>
          <a:xfrm>
            <a:off x="7061004" y="3778654"/>
            <a:ext cx="7328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3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96" name="文本框 195">
            <a:extLst>
              <a:ext uri="{FF2B5EF4-FFF2-40B4-BE49-F238E27FC236}">
                <a16:creationId xmlns:a16="http://schemas.microsoft.com/office/drawing/2014/main" id="{D6C02D4A-42AE-46D0-833C-C4012C09CDE8}"/>
              </a:ext>
            </a:extLst>
          </p:cNvPr>
          <p:cNvSpPr txBox="1"/>
          <p:nvPr/>
        </p:nvSpPr>
        <p:spPr>
          <a:xfrm>
            <a:off x="7061004" y="5141725"/>
            <a:ext cx="71686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4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9E4B69B6-5EC8-4FB5-82B2-F4A2B6DF15C2}"/>
              </a:ext>
            </a:extLst>
          </p:cNvPr>
          <p:cNvSpPr txBox="1"/>
          <p:nvPr/>
        </p:nvSpPr>
        <p:spPr>
          <a:xfrm>
            <a:off x="5284430" y="1935550"/>
            <a:ext cx="1366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Sample Text.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98" name="文本框 197">
            <a:extLst>
              <a:ext uri="{FF2B5EF4-FFF2-40B4-BE49-F238E27FC236}">
                <a16:creationId xmlns:a16="http://schemas.microsoft.com/office/drawing/2014/main" id="{99934B49-50AD-455D-8032-0769F92A1232}"/>
              </a:ext>
            </a:extLst>
          </p:cNvPr>
          <p:cNvSpPr txBox="1"/>
          <p:nvPr/>
        </p:nvSpPr>
        <p:spPr>
          <a:xfrm>
            <a:off x="8132146" y="3240426"/>
            <a:ext cx="1366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Sample Text.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FA053649-CEC0-4669-B66D-084CCFF930B5}"/>
              </a:ext>
            </a:extLst>
          </p:cNvPr>
          <p:cNvSpPr txBox="1"/>
          <p:nvPr/>
        </p:nvSpPr>
        <p:spPr>
          <a:xfrm>
            <a:off x="5284430" y="4621540"/>
            <a:ext cx="1366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Sample Text.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00" name="文本框 199">
            <a:extLst>
              <a:ext uri="{FF2B5EF4-FFF2-40B4-BE49-F238E27FC236}">
                <a16:creationId xmlns:a16="http://schemas.microsoft.com/office/drawing/2014/main" id="{A58123FA-7C8E-4A79-80F1-0BE1280F3FD8}"/>
              </a:ext>
            </a:extLst>
          </p:cNvPr>
          <p:cNvSpPr txBox="1"/>
          <p:nvPr/>
        </p:nvSpPr>
        <p:spPr>
          <a:xfrm>
            <a:off x="8132146" y="5926416"/>
            <a:ext cx="1366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Sample Text.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933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无法表示递进关系的模板</a:t>
            </a:r>
          </a:p>
        </p:txBody>
      </p:sp>
      <p:sp>
        <p:nvSpPr>
          <p:cNvPr id="79" name="Rectangle 5">
            <a:extLst>
              <a:ext uri="{FF2B5EF4-FFF2-40B4-BE49-F238E27FC236}">
                <a16:creationId xmlns:a16="http://schemas.microsoft.com/office/drawing/2014/main" id="{96E42347-90C4-4896-91F9-DB9C1940E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7371" y="0"/>
            <a:ext cx="6096204" cy="6858000"/>
          </a:xfrm>
          <a:prstGeom prst="rect">
            <a:avLst/>
          </a:prstGeom>
          <a:solidFill>
            <a:srgbClr val="D7D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0" name="Oval 5">
            <a:extLst>
              <a:ext uri="{FF2B5EF4-FFF2-40B4-BE49-F238E27FC236}">
                <a16:creationId xmlns:a16="http://schemas.microsoft.com/office/drawing/2014/main" id="{255430A3-3891-4BB7-A082-92F567BF6C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5851" y="1189038"/>
            <a:ext cx="204788" cy="200025"/>
          </a:xfrm>
          <a:prstGeom prst="ellipse">
            <a:avLst/>
          </a:prstGeom>
          <a:solidFill>
            <a:srgbClr val="EAA7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1" name="Freeform 6">
            <a:extLst>
              <a:ext uri="{FF2B5EF4-FFF2-40B4-BE49-F238E27FC236}">
                <a16:creationId xmlns:a16="http://schemas.microsoft.com/office/drawing/2014/main" id="{EBBF53C5-55B6-40A0-AD0A-92E5A25B1779}"/>
              </a:ext>
            </a:extLst>
          </p:cNvPr>
          <p:cNvSpPr>
            <a:spLocks noEditPoints="1"/>
          </p:cNvSpPr>
          <p:nvPr/>
        </p:nvSpPr>
        <p:spPr bwMode="auto">
          <a:xfrm>
            <a:off x="6972301" y="739776"/>
            <a:ext cx="1322388" cy="1273175"/>
          </a:xfrm>
          <a:custGeom>
            <a:avLst/>
            <a:gdLst>
              <a:gd name="T0" fmla="*/ 131 w 271"/>
              <a:gd name="T1" fmla="*/ 127 h 261"/>
              <a:gd name="T2" fmla="*/ 119 w 271"/>
              <a:gd name="T3" fmla="*/ 133 h 261"/>
              <a:gd name="T4" fmla="*/ 149 w 271"/>
              <a:gd name="T5" fmla="*/ 261 h 261"/>
              <a:gd name="T6" fmla="*/ 163 w 271"/>
              <a:gd name="T7" fmla="*/ 261 h 261"/>
              <a:gd name="T8" fmla="*/ 131 w 271"/>
              <a:gd name="T9" fmla="*/ 127 h 261"/>
              <a:gd name="T10" fmla="*/ 271 w 271"/>
              <a:gd name="T11" fmla="*/ 105 h 261"/>
              <a:gd name="T12" fmla="*/ 135 w 271"/>
              <a:gd name="T13" fmla="*/ 105 h 261"/>
              <a:gd name="T14" fmla="*/ 137 w 271"/>
              <a:gd name="T15" fmla="*/ 113 h 261"/>
              <a:gd name="T16" fmla="*/ 136 w 271"/>
              <a:gd name="T17" fmla="*/ 118 h 261"/>
              <a:gd name="T18" fmla="*/ 271 w 271"/>
              <a:gd name="T19" fmla="*/ 118 h 261"/>
              <a:gd name="T20" fmla="*/ 271 w 271"/>
              <a:gd name="T21" fmla="*/ 105 h 261"/>
              <a:gd name="T22" fmla="*/ 7 w 271"/>
              <a:gd name="T23" fmla="*/ 0 h 261"/>
              <a:gd name="T24" fmla="*/ 0 w 271"/>
              <a:gd name="T25" fmla="*/ 12 h 261"/>
              <a:gd name="T26" fmla="*/ 99 w 271"/>
              <a:gd name="T27" fmla="*/ 101 h 261"/>
              <a:gd name="T28" fmla="*/ 110 w 271"/>
              <a:gd name="T29" fmla="*/ 93 h 261"/>
              <a:gd name="T30" fmla="*/ 7 w 271"/>
              <a:gd name="T31" fmla="*/ 0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71" h="261">
                <a:moveTo>
                  <a:pt x="131" y="127"/>
                </a:moveTo>
                <a:cubicBezTo>
                  <a:pt x="128" y="130"/>
                  <a:pt x="123" y="133"/>
                  <a:pt x="119" y="133"/>
                </a:cubicBezTo>
                <a:cubicBezTo>
                  <a:pt x="138" y="172"/>
                  <a:pt x="149" y="216"/>
                  <a:pt x="149" y="261"/>
                </a:cubicBezTo>
                <a:cubicBezTo>
                  <a:pt x="163" y="261"/>
                  <a:pt x="163" y="261"/>
                  <a:pt x="163" y="261"/>
                </a:cubicBezTo>
                <a:cubicBezTo>
                  <a:pt x="163" y="214"/>
                  <a:pt x="151" y="168"/>
                  <a:pt x="131" y="127"/>
                </a:cubicBezTo>
                <a:moveTo>
                  <a:pt x="271" y="105"/>
                </a:moveTo>
                <a:cubicBezTo>
                  <a:pt x="135" y="105"/>
                  <a:pt x="135" y="105"/>
                  <a:pt x="135" y="105"/>
                </a:cubicBezTo>
                <a:cubicBezTo>
                  <a:pt x="136" y="107"/>
                  <a:pt x="137" y="110"/>
                  <a:pt x="137" y="113"/>
                </a:cubicBezTo>
                <a:cubicBezTo>
                  <a:pt x="137" y="115"/>
                  <a:pt x="136" y="117"/>
                  <a:pt x="136" y="118"/>
                </a:cubicBezTo>
                <a:cubicBezTo>
                  <a:pt x="271" y="118"/>
                  <a:pt x="271" y="118"/>
                  <a:pt x="271" y="118"/>
                </a:cubicBezTo>
                <a:cubicBezTo>
                  <a:pt x="271" y="105"/>
                  <a:pt x="271" y="105"/>
                  <a:pt x="271" y="105"/>
                </a:cubicBezTo>
                <a:moveTo>
                  <a:pt x="7" y="0"/>
                </a:moveTo>
                <a:cubicBezTo>
                  <a:pt x="0" y="12"/>
                  <a:pt x="0" y="12"/>
                  <a:pt x="0" y="12"/>
                </a:cubicBezTo>
                <a:cubicBezTo>
                  <a:pt x="41" y="34"/>
                  <a:pt x="74" y="64"/>
                  <a:pt x="99" y="101"/>
                </a:cubicBezTo>
                <a:cubicBezTo>
                  <a:pt x="102" y="97"/>
                  <a:pt x="106" y="94"/>
                  <a:pt x="110" y="93"/>
                </a:cubicBezTo>
                <a:cubicBezTo>
                  <a:pt x="84" y="55"/>
                  <a:pt x="49" y="23"/>
                  <a:pt x="7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2" name="Freeform 7">
            <a:extLst>
              <a:ext uri="{FF2B5EF4-FFF2-40B4-BE49-F238E27FC236}">
                <a16:creationId xmlns:a16="http://schemas.microsoft.com/office/drawing/2014/main" id="{E179FCB1-DE53-480D-B192-CC1E4E045A2C}"/>
              </a:ext>
            </a:extLst>
          </p:cNvPr>
          <p:cNvSpPr>
            <a:spLocks/>
          </p:cNvSpPr>
          <p:nvPr/>
        </p:nvSpPr>
        <p:spPr bwMode="auto">
          <a:xfrm>
            <a:off x="7454901" y="1193801"/>
            <a:ext cx="185738" cy="195263"/>
          </a:xfrm>
          <a:custGeom>
            <a:avLst/>
            <a:gdLst>
              <a:gd name="T0" fmla="*/ 11 w 38"/>
              <a:gd name="T1" fmla="*/ 0 h 40"/>
              <a:gd name="T2" fmla="*/ 0 w 38"/>
              <a:gd name="T3" fmla="*/ 8 h 40"/>
              <a:gd name="T4" fmla="*/ 20 w 38"/>
              <a:gd name="T5" fmla="*/ 40 h 40"/>
              <a:gd name="T6" fmla="*/ 32 w 38"/>
              <a:gd name="T7" fmla="*/ 34 h 40"/>
              <a:gd name="T8" fmla="*/ 27 w 38"/>
              <a:gd name="T9" fmla="*/ 25 h 40"/>
              <a:gd name="T10" fmla="*/ 37 w 38"/>
              <a:gd name="T11" fmla="*/ 25 h 40"/>
              <a:gd name="T12" fmla="*/ 38 w 38"/>
              <a:gd name="T13" fmla="*/ 20 h 40"/>
              <a:gd name="T14" fmla="*/ 36 w 38"/>
              <a:gd name="T15" fmla="*/ 12 h 40"/>
              <a:gd name="T16" fmla="*/ 19 w 38"/>
              <a:gd name="T17" fmla="*/ 12 h 40"/>
              <a:gd name="T18" fmla="*/ 11 w 38"/>
              <a:gd name="T19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8" h="40">
                <a:moveTo>
                  <a:pt x="11" y="0"/>
                </a:moveTo>
                <a:cubicBezTo>
                  <a:pt x="7" y="1"/>
                  <a:pt x="3" y="4"/>
                  <a:pt x="0" y="8"/>
                </a:cubicBezTo>
                <a:cubicBezTo>
                  <a:pt x="8" y="18"/>
                  <a:pt x="14" y="29"/>
                  <a:pt x="20" y="40"/>
                </a:cubicBezTo>
                <a:cubicBezTo>
                  <a:pt x="24" y="40"/>
                  <a:pt x="29" y="37"/>
                  <a:pt x="32" y="34"/>
                </a:cubicBezTo>
                <a:cubicBezTo>
                  <a:pt x="30" y="31"/>
                  <a:pt x="29" y="28"/>
                  <a:pt x="27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24"/>
                  <a:pt x="38" y="22"/>
                  <a:pt x="38" y="20"/>
                </a:cubicBezTo>
                <a:cubicBezTo>
                  <a:pt x="38" y="17"/>
                  <a:pt x="37" y="14"/>
                  <a:pt x="36" y="12"/>
                </a:cubicBezTo>
                <a:cubicBezTo>
                  <a:pt x="19" y="12"/>
                  <a:pt x="19" y="12"/>
                  <a:pt x="19" y="12"/>
                </a:cubicBezTo>
                <a:cubicBezTo>
                  <a:pt x="17" y="8"/>
                  <a:pt x="14" y="4"/>
                  <a:pt x="11" y="0"/>
                </a:cubicBezTo>
              </a:path>
            </a:pathLst>
          </a:custGeom>
          <a:solidFill>
            <a:srgbClr val="BA89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3" name="Oval 8">
            <a:extLst>
              <a:ext uri="{FF2B5EF4-FFF2-40B4-BE49-F238E27FC236}">
                <a16:creationId xmlns:a16="http://schemas.microsoft.com/office/drawing/2014/main" id="{C1F62E14-3122-45AB-B3E1-027BB50B25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901" y="730251"/>
            <a:ext cx="84138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4" name="Oval 9">
            <a:extLst>
              <a:ext uri="{FF2B5EF4-FFF2-40B4-BE49-F238E27FC236}">
                <a16:creationId xmlns:a16="http://schemas.microsoft.com/office/drawing/2014/main" id="{29561404-AA69-4784-BE47-03F6D36AD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238" y="1243013"/>
            <a:ext cx="87313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5" name="Oval 10">
            <a:extLst>
              <a:ext uri="{FF2B5EF4-FFF2-40B4-BE49-F238E27FC236}">
                <a16:creationId xmlns:a16="http://schemas.microsoft.com/office/drawing/2014/main" id="{B580EEDE-61C0-4297-B05E-99963B90B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9851" y="1974851"/>
            <a:ext cx="87313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6" name="Oval 11">
            <a:extLst>
              <a:ext uri="{FF2B5EF4-FFF2-40B4-BE49-F238E27FC236}">
                <a16:creationId xmlns:a16="http://schemas.microsoft.com/office/drawing/2014/main" id="{ACC9DD11-3E77-49F1-9D52-72034417D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1247776"/>
            <a:ext cx="87313" cy="87313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7" name="Oval 12">
            <a:extLst>
              <a:ext uri="{FF2B5EF4-FFF2-40B4-BE49-F238E27FC236}">
                <a16:creationId xmlns:a16="http://schemas.microsoft.com/office/drawing/2014/main" id="{F190AB3D-E922-4CFE-A012-7F0D6E1463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8688" y="2697163"/>
            <a:ext cx="200025" cy="204788"/>
          </a:xfrm>
          <a:prstGeom prst="ellipse">
            <a:avLst/>
          </a:prstGeom>
          <a:solidFill>
            <a:srgbClr val="D167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8" name="Freeform 13">
            <a:extLst>
              <a:ext uri="{FF2B5EF4-FFF2-40B4-BE49-F238E27FC236}">
                <a16:creationId xmlns:a16="http://schemas.microsoft.com/office/drawing/2014/main" id="{CD5B51B9-23AD-4B1C-80A4-DFB7E9B7A580}"/>
              </a:ext>
            </a:extLst>
          </p:cNvPr>
          <p:cNvSpPr>
            <a:spLocks noEditPoints="1"/>
          </p:cNvSpPr>
          <p:nvPr/>
        </p:nvSpPr>
        <p:spPr bwMode="auto">
          <a:xfrm>
            <a:off x="8104188" y="2281238"/>
            <a:ext cx="1296988" cy="1065213"/>
          </a:xfrm>
          <a:custGeom>
            <a:avLst/>
            <a:gdLst>
              <a:gd name="T0" fmla="*/ 125 w 266"/>
              <a:gd name="T1" fmla="*/ 121 h 218"/>
              <a:gd name="T2" fmla="*/ 113 w 266"/>
              <a:gd name="T3" fmla="*/ 127 h 218"/>
              <a:gd name="T4" fmla="*/ 133 w 266"/>
              <a:gd name="T5" fmla="*/ 218 h 218"/>
              <a:gd name="T6" fmla="*/ 146 w 266"/>
              <a:gd name="T7" fmla="*/ 218 h 218"/>
              <a:gd name="T8" fmla="*/ 125 w 266"/>
              <a:gd name="T9" fmla="*/ 121 h 218"/>
              <a:gd name="T10" fmla="*/ 266 w 266"/>
              <a:gd name="T11" fmla="*/ 98 h 218"/>
              <a:gd name="T12" fmla="*/ 131 w 266"/>
              <a:gd name="T13" fmla="*/ 98 h 218"/>
              <a:gd name="T14" fmla="*/ 132 w 266"/>
              <a:gd name="T15" fmla="*/ 106 h 218"/>
              <a:gd name="T16" fmla="*/ 132 w 266"/>
              <a:gd name="T17" fmla="*/ 111 h 218"/>
              <a:gd name="T18" fmla="*/ 266 w 266"/>
              <a:gd name="T19" fmla="*/ 111 h 218"/>
              <a:gd name="T20" fmla="*/ 266 w 266"/>
              <a:gd name="T21" fmla="*/ 98 h 218"/>
              <a:gd name="T22" fmla="*/ 6 w 266"/>
              <a:gd name="T23" fmla="*/ 0 h 218"/>
              <a:gd name="T24" fmla="*/ 0 w 266"/>
              <a:gd name="T25" fmla="*/ 12 h 218"/>
              <a:gd name="T26" fmla="*/ 95 w 266"/>
              <a:gd name="T27" fmla="*/ 94 h 218"/>
              <a:gd name="T28" fmla="*/ 106 w 266"/>
              <a:gd name="T29" fmla="*/ 86 h 218"/>
              <a:gd name="T30" fmla="*/ 6 w 266"/>
              <a:gd name="T31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6" h="218">
                <a:moveTo>
                  <a:pt x="125" y="121"/>
                </a:moveTo>
                <a:cubicBezTo>
                  <a:pt x="122" y="124"/>
                  <a:pt x="118" y="126"/>
                  <a:pt x="113" y="127"/>
                </a:cubicBezTo>
                <a:cubicBezTo>
                  <a:pt x="126" y="155"/>
                  <a:pt x="133" y="186"/>
                  <a:pt x="133" y="218"/>
                </a:cubicBezTo>
                <a:cubicBezTo>
                  <a:pt x="146" y="218"/>
                  <a:pt x="146" y="218"/>
                  <a:pt x="146" y="218"/>
                </a:cubicBezTo>
                <a:cubicBezTo>
                  <a:pt x="146" y="184"/>
                  <a:pt x="139" y="151"/>
                  <a:pt x="125" y="121"/>
                </a:cubicBezTo>
                <a:moveTo>
                  <a:pt x="266" y="98"/>
                </a:moveTo>
                <a:cubicBezTo>
                  <a:pt x="131" y="98"/>
                  <a:pt x="131" y="98"/>
                  <a:pt x="131" y="98"/>
                </a:cubicBezTo>
                <a:cubicBezTo>
                  <a:pt x="132" y="100"/>
                  <a:pt x="132" y="103"/>
                  <a:pt x="132" y="106"/>
                </a:cubicBezTo>
                <a:cubicBezTo>
                  <a:pt x="132" y="108"/>
                  <a:pt x="132" y="110"/>
                  <a:pt x="132" y="111"/>
                </a:cubicBezTo>
                <a:cubicBezTo>
                  <a:pt x="266" y="111"/>
                  <a:pt x="266" y="111"/>
                  <a:pt x="266" y="111"/>
                </a:cubicBezTo>
                <a:cubicBezTo>
                  <a:pt x="266" y="98"/>
                  <a:pt x="266" y="98"/>
                  <a:pt x="266" y="98"/>
                </a:cubicBezTo>
                <a:moveTo>
                  <a:pt x="6" y="0"/>
                </a:moveTo>
                <a:cubicBezTo>
                  <a:pt x="0" y="12"/>
                  <a:pt x="0" y="12"/>
                  <a:pt x="0" y="12"/>
                </a:cubicBezTo>
                <a:cubicBezTo>
                  <a:pt x="39" y="30"/>
                  <a:pt x="72" y="59"/>
                  <a:pt x="95" y="94"/>
                </a:cubicBezTo>
                <a:cubicBezTo>
                  <a:pt x="98" y="90"/>
                  <a:pt x="102" y="87"/>
                  <a:pt x="106" y="86"/>
                </a:cubicBezTo>
                <a:cubicBezTo>
                  <a:pt x="82" y="49"/>
                  <a:pt x="47" y="19"/>
                  <a:pt x="6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9" name="Freeform 14">
            <a:extLst>
              <a:ext uri="{FF2B5EF4-FFF2-40B4-BE49-F238E27FC236}">
                <a16:creationId xmlns:a16="http://schemas.microsoft.com/office/drawing/2014/main" id="{F0B90A8C-C46D-47A5-A1F6-5E9142F148AA}"/>
              </a:ext>
            </a:extLst>
          </p:cNvPr>
          <p:cNvSpPr>
            <a:spLocks/>
          </p:cNvSpPr>
          <p:nvPr/>
        </p:nvSpPr>
        <p:spPr bwMode="auto">
          <a:xfrm>
            <a:off x="8567738" y="2701926"/>
            <a:ext cx="180975" cy="200025"/>
          </a:xfrm>
          <a:custGeom>
            <a:avLst/>
            <a:gdLst>
              <a:gd name="T0" fmla="*/ 11 w 37"/>
              <a:gd name="T1" fmla="*/ 0 h 41"/>
              <a:gd name="T2" fmla="*/ 0 w 37"/>
              <a:gd name="T3" fmla="*/ 8 h 41"/>
              <a:gd name="T4" fmla="*/ 18 w 37"/>
              <a:gd name="T5" fmla="*/ 41 h 41"/>
              <a:gd name="T6" fmla="*/ 30 w 37"/>
              <a:gd name="T7" fmla="*/ 35 h 41"/>
              <a:gd name="T8" fmla="*/ 26 w 37"/>
              <a:gd name="T9" fmla="*/ 25 h 41"/>
              <a:gd name="T10" fmla="*/ 37 w 37"/>
              <a:gd name="T11" fmla="*/ 25 h 41"/>
              <a:gd name="T12" fmla="*/ 37 w 37"/>
              <a:gd name="T13" fmla="*/ 20 h 41"/>
              <a:gd name="T14" fmla="*/ 36 w 37"/>
              <a:gd name="T15" fmla="*/ 12 h 41"/>
              <a:gd name="T16" fmla="*/ 18 w 37"/>
              <a:gd name="T17" fmla="*/ 12 h 41"/>
              <a:gd name="T18" fmla="*/ 11 w 37"/>
              <a:gd name="T1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" h="41">
                <a:moveTo>
                  <a:pt x="11" y="0"/>
                </a:moveTo>
                <a:cubicBezTo>
                  <a:pt x="7" y="1"/>
                  <a:pt x="3" y="4"/>
                  <a:pt x="0" y="8"/>
                </a:cubicBezTo>
                <a:cubicBezTo>
                  <a:pt x="7" y="18"/>
                  <a:pt x="13" y="29"/>
                  <a:pt x="18" y="41"/>
                </a:cubicBezTo>
                <a:cubicBezTo>
                  <a:pt x="23" y="40"/>
                  <a:pt x="27" y="38"/>
                  <a:pt x="30" y="35"/>
                </a:cubicBezTo>
                <a:cubicBezTo>
                  <a:pt x="29" y="32"/>
                  <a:pt x="27" y="29"/>
                  <a:pt x="26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24"/>
                  <a:pt x="37" y="22"/>
                  <a:pt x="37" y="20"/>
                </a:cubicBezTo>
                <a:cubicBezTo>
                  <a:pt x="37" y="17"/>
                  <a:pt x="37" y="14"/>
                  <a:pt x="36" y="12"/>
                </a:cubicBezTo>
                <a:cubicBezTo>
                  <a:pt x="18" y="12"/>
                  <a:pt x="18" y="12"/>
                  <a:pt x="18" y="12"/>
                </a:cubicBezTo>
                <a:cubicBezTo>
                  <a:pt x="16" y="8"/>
                  <a:pt x="14" y="4"/>
                  <a:pt x="11" y="0"/>
                </a:cubicBezTo>
              </a:path>
            </a:pathLst>
          </a:custGeom>
          <a:solidFill>
            <a:srgbClr val="A958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0" name="Oval 15">
            <a:extLst>
              <a:ext uri="{FF2B5EF4-FFF2-40B4-BE49-F238E27FC236}">
                <a16:creationId xmlns:a16="http://schemas.microsoft.com/office/drawing/2014/main" id="{DFCE8B99-0A64-4B5F-9CCC-BB69AA9335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4026" y="2266951"/>
            <a:ext cx="84138" cy="87313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1" name="Oval 16">
            <a:extLst>
              <a:ext uri="{FF2B5EF4-FFF2-40B4-BE49-F238E27FC236}">
                <a16:creationId xmlns:a16="http://schemas.microsoft.com/office/drawing/2014/main" id="{72EC835B-029A-4F15-95C0-8275A67E9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8313" y="2744788"/>
            <a:ext cx="87313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2" name="Oval 17">
            <a:extLst>
              <a:ext uri="{FF2B5EF4-FFF2-40B4-BE49-F238E27FC236}">
                <a16:creationId xmlns:a16="http://schemas.microsoft.com/office/drawing/2014/main" id="{6E8F7A3D-622B-433D-B862-AECF485AD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7601" y="3306763"/>
            <a:ext cx="84138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3" name="Oval 18">
            <a:extLst>
              <a:ext uri="{FF2B5EF4-FFF2-40B4-BE49-F238E27FC236}">
                <a16:creationId xmlns:a16="http://schemas.microsoft.com/office/drawing/2014/main" id="{8EA5D6A9-44A8-49F6-BBDA-6BB7C07D2E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1076" y="2755901"/>
            <a:ext cx="93663" cy="87313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4" name="Oval 19">
            <a:extLst>
              <a:ext uri="{FF2B5EF4-FFF2-40B4-BE49-F238E27FC236}">
                <a16:creationId xmlns:a16="http://schemas.microsoft.com/office/drawing/2014/main" id="{11022AE8-EDEF-40F1-BFC6-B2926338F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1238" y="5761038"/>
            <a:ext cx="204788" cy="204788"/>
          </a:xfrm>
          <a:prstGeom prst="ellipse">
            <a:avLst/>
          </a:prstGeom>
          <a:solidFill>
            <a:srgbClr val="4F9D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5" name="Freeform 20">
            <a:extLst>
              <a:ext uri="{FF2B5EF4-FFF2-40B4-BE49-F238E27FC236}">
                <a16:creationId xmlns:a16="http://schemas.microsoft.com/office/drawing/2014/main" id="{C9C1DD6E-7324-4482-8450-9F43C41C7C9E}"/>
              </a:ext>
            </a:extLst>
          </p:cNvPr>
          <p:cNvSpPr>
            <a:spLocks noEditPoints="1"/>
          </p:cNvSpPr>
          <p:nvPr/>
        </p:nvSpPr>
        <p:spPr bwMode="auto">
          <a:xfrm>
            <a:off x="7991476" y="5522913"/>
            <a:ext cx="1098550" cy="595313"/>
          </a:xfrm>
          <a:custGeom>
            <a:avLst/>
            <a:gdLst>
              <a:gd name="T0" fmla="*/ 171 w 225"/>
              <a:gd name="T1" fmla="*/ 78 h 122"/>
              <a:gd name="T2" fmla="*/ 162 w 225"/>
              <a:gd name="T3" fmla="*/ 88 h 122"/>
              <a:gd name="T4" fmla="*/ 220 w 225"/>
              <a:gd name="T5" fmla="*/ 122 h 122"/>
              <a:gd name="T6" fmla="*/ 225 w 225"/>
              <a:gd name="T7" fmla="*/ 110 h 122"/>
              <a:gd name="T8" fmla="*/ 171 w 225"/>
              <a:gd name="T9" fmla="*/ 78 h 122"/>
              <a:gd name="T10" fmla="*/ 132 w 225"/>
              <a:gd name="T11" fmla="*/ 66 h 122"/>
              <a:gd name="T12" fmla="*/ 0 w 225"/>
              <a:gd name="T13" fmla="*/ 66 h 122"/>
              <a:gd name="T14" fmla="*/ 0 w 225"/>
              <a:gd name="T15" fmla="*/ 79 h 122"/>
              <a:gd name="T16" fmla="*/ 134 w 225"/>
              <a:gd name="T17" fmla="*/ 79 h 122"/>
              <a:gd name="T18" fmla="*/ 131 w 225"/>
              <a:gd name="T19" fmla="*/ 70 h 122"/>
              <a:gd name="T20" fmla="*/ 132 w 225"/>
              <a:gd name="T21" fmla="*/ 66 h 122"/>
              <a:gd name="T22" fmla="*/ 124 w 225"/>
              <a:gd name="T23" fmla="*/ 0 h 122"/>
              <a:gd name="T24" fmla="*/ 111 w 225"/>
              <a:gd name="T25" fmla="*/ 3 h 122"/>
              <a:gd name="T26" fmla="*/ 136 w 225"/>
              <a:gd name="T27" fmla="*/ 57 h 122"/>
              <a:gd name="T28" fmla="*/ 147 w 225"/>
              <a:gd name="T29" fmla="*/ 50 h 122"/>
              <a:gd name="T30" fmla="*/ 124 w 225"/>
              <a:gd name="T31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5" h="122">
                <a:moveTo>
                  <a:pt x="171" y="78"/>
                </a:moveTo>
                <a:cubicBezTo>
                  <a:pt x="169" y="82"/>
                  <a:pt x="166" y="86"/>
                  <a:pt x="162" y="88"/>
                </a:cubicBezTo>
                <a:cubicBezTo>
                  <a:pt x="179" y="103"/>
                  <a:pt x="199" y="115"/>
                  <a:pt x="220" y="122"/>
                </a:cubicBezTo>
                <a:cubicBezTo>
                  <a:pt x="225" y="110"/>
                  <a:pt x="225" y="110"/>
                  <a:pt x="225" y="110"/>
                </a:cubicBezTo>
                <a:cubicBezTo>
                  <a:pt x="205" y="103"/>
                  <a:pt x="186" y="92"/>
                  <a:pt x="171" y="78"/>
                </a:cubicBezTo>
                <a:moveTo>
                  <a:pt x="132" y="66"/>
                </a:moveTo>
                <a:cubicBezTo>
                  <a:pt x="0" y="66"/>
                  <a:pt x="0" y="66"/>
                  <a:pt x="0" y="66"/>
                </a:cubicBezTo>
                <a:cubicBezTo>
                  <a:pt x="0" y="79"/>
                  <a:pt x="0" y="79"/>
                  <a:pt x="0" y="79"/>
                </a:cubicBezTo>
                <a:cubicBezTo>
                  <a:pt x="134" y="79"/>
                  <a:pt x="134" y="79"/>
                  <a:pt x="134" y="79"/>
                </a:cubicBezTo>
                <a:cubicBezTo>
                  <a:pt x="132" y="76"/>
                  <a:pt x="131" y="73"/>
                  <a:pt x="131" y="70"/>
                </a:cubicBezTo>
                <a:cubicBezTo>
                  <a:pt x="131" y="68"/>
                  <a:pt x="132" y="67"/>
                  <a:pt x="132" y="66"/>
                </a:cubicBezTo>
                <a:moveTo>
                  <a:pt x="124" y="0"/>
                </a:moveTo>
                <a:cubicBezTo>
                  <a:pt x="111" y="3"/>
                  <a:pt x="111" y="3"/>
                  <a:pt x="111" y="3"/>
                </a:cubicBezTo>
                <a:cubicBezTo>
                  <a:pt x="116" y="23"/>
                  <a:pt x="125" y="41"/>
                  <a:pt x="136" y="57"/>
                </a:cubicBezTo>
                <a:cubicBezTo>
                  <a:pt x="139" y="54"/>
                  <a:pt x="142" y="51"/>
                  <a:pt x="147" y="50"/>
                </a:cubicBezTo>
                <a:cubicBezTo>
                  <a:pt x="137" y="35"/>
                  <a:pt x="129" y="18"/>
                  <a:pt x="124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6" name="Freeform 21">
            <a:extLst>
              <a:ext uri="{FF2B5EF4-FFF2-40B4-BE49-F238E27FC236}">
                <a16:creationId xmlns:a16="http://schemas.microsoft.com/office/drawing/2014/main" id="{865A053C-9E62-43D8-BC3B-6BCB007FD324}"/>
              </a:ext>
            </a:extLst>
          </p:cNvPr>
          <p:cNvSpPr>
            <a:spLocks/>
          </p:cNvSpPr>
          <p:nvPr/>
        </p:nvSpPr>
        <p:spPr bwMode="auto">
          <a:xfrm>
            <a:off x="8631238" y="5765801"/>
            <a:ext cx="195263" cy="185738"/>
          </a:xfrm>
          <a:custGeom>
            <a:avLst/>
            <a:gdLst>
              <a:gd name="T0" fmla="*/ 16 w 40"/>
              <a:gd name="T1" fmla="*/ 0 h 38"/>
              <a:gd name="T2" fmla="*/ 5 w 40"/>
              <a:gd name="T3" fmla="*/ 7 h 38"/>
              <a:gd name="T4" fmla="*/ 11 w 40"/>
              <a:gd name="T5" fmla="*/ 16 h 38"/>
              <a:gd name="T6" fmla="*/ 1 w 40"/>
              <a:gd name="T7" fmla="*/ 16 h 38"/>
              <a:gd name="T8" fmla="*/ 0 w 40"/>
              <a:gd name="T9" fmla="*/ 20 h 38"/>
              <a:gd name="T10" fmla="*/ 3 w 40"/>
              <a:gd name="T11" fmla="*/ 29 h 38"/>
              <a:gd name="T12" fmla="*/ 22 w 40"/>
              <a:gd name="T13" fmla="*/ 29 h 38"/>
              <a:gd name="T14" fmla="*/ 31 w 40"/>
              <a:gd name="T15" fmla="*/ 38 h 38"/>
              <a:gd name="T16" fmla="*/ 40 w 40"/>
              <a:gd name="T17" fmla="*/ 28 h 38"/>
              <a:gd name="T18" fmla="*/ 16 w 40"/>
              <a:gd name="T1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38">
                <a:moveTo>
                  <a:pt x="16" y="0"/>
                </a:moveTo>
                <a:cubicBezTo>
                  <a:pt x="11" y="1"/>
                  <a:pt x="8" y="4"/>
                  <a:pt x="5" y="7"/>
                </a:cubicBezTo>
                <a:cubicBezTo>
                  <a:pt x="7" y="10"/>
                  <a:pt x="9" y="13"/>
                  <a:pt x="11" y="16"/>
                </a:cubicBezTo>
                <a:cubicBezTo>
                  <a:pt x="1" y="16"/>
                  <a:pt x="1" y="16"/>
                  <a:pt x="1" y="16"/>
                </a:cubicBezTo>
                <a:cubicBezTo>
                  <a:pt x="1" y="17"/>
                  <a:pt x="0" y="18"/>
                  <a:pt x="0" y="20"/>
                </a:cubicBezTo>
                <a:cubicBezTo>
                  <a:pt x="0" y="23"/>
                  <a:pt x="1" y="26"/>
                  <a:pt x="3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5" y="32"/>
                  <a:pt x="28" y="35"/>
                  <a:pt x="31" y="38"/>
                </a:cubicBezTo>
                <a:cubicBezTo>
                  <a:pt x="35" y="36"/>
                  <a:pt x="38" y="32"/>
                  <a:pt x="40" y="28"/>
                </a:cubicBezTo>
                <a:cubicBezTo>
                  <a:pt x="31" y="19"/>
                  <a:pt x="23" y="10"/>
                  <a:pt x="16" y="0"/>
                </a:cubicBezTo>
              </a:path>
            </a:pathLst>
          </a:custGeom>
          <a:solidFill>
            <a:srgbClr val="37869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" name="Oval 22">
            <a:extLst>
              <a:ext uri="{FF2B5EF4-FFF2-40B4-BE49-F238E27FC236}">
                <a16:creationId xmlns:a16="http://schemas.microsoft.com/office/drawing/2014/main" id="{A431D69C-ADCF-43D6-A928-DE879AED6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9976" y="5819776"/>
            <a:ext cx="87313" cy="88900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" name="Oval 23">
            <a:extLst>
              <a:ext uri="{FF2B5EF4-FFF2-40B4-BE49-F238E27FC236}">
                <a16:creationId xmlns:a16="http://schemas.microsoft.com/office/drawing/2014/main" id="{57FC34EF-26E6-42DE-A0A9-E2106C9B5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8526" y="5487988"/>
            <a:ext cx="87313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" name="Oval 24">
            <a:extLst>
              <a:ext uri="{FF2B5EF4-FFF2-40B4-BE49-F238E27FC236}">
                <a16:creationId xmlns:a16="http://schemas.microsoft.com/office/drawing/2014/main" id="{8C816E01-D83F-4579-9871-B55590B1D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48613" y="5824538"/>
            <a:ext cx="87313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0" name="Oval 25">
            <a:extLst>
              <a:ext uri="{FF2B5EF4-FFF2-40B4-BE49-F238E27FC236}">
                <a16:creationId xmlns:a16="http://schemas.microsoft.com/office/drawing/2014/main" id="{939547A2-132E-4503-8773-E43DA4429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6051" y="6045201"/>
            <a:ext cx="82550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1" name="Oval 26">
            <a:extLst>
              <a:ext uri="{FF2B5EF4-FFF2-40B4-BE49-F238E27FC236}">
                <a16:creationId xmlns:a16="http://schemas.microsoft.com/office/drawing/2014/main" id="{87AF5175-299C-4806-8968-2D0A68D781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6351" y="4916488"/>
            <a:ext cx="200025" cy="206375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2" name="Freeform 27">
            <a:extLst>
              <a:ext uri="{FF2B5EF4-FFF2-40B4-BE49-F238E27FC236}">
                <a16:creationId xmlns:a16="http://schemas.microsoft.com/office/drawing/2014/main" id="{420C05E8-5468-4D2C-9BE0-5770A77B7392}"/>
              </a:ext>
            </a:extLst>
          </p:cNvPr>
          <p:cNvSpPr>
            <a:spLocks noEditPoints="1"/>
          </p:cNvSpPr>
          <p:nvPr/>
        </p:nvSpPr>
        <p:spPr bwMode="auto">
          <a:xfrm>
            <a:off x="6981826" y="4551363"/>
            <a:ext cx="1181100" cy="809625"/>
          </a:xfrm>
          <a:custGeom>
            <a:avLst/>
            <a:gdLst>
              <a:gd name="T0" fmla="*/ 171 w 242"/>
              <a:gd name="T1" fmla="*/ 105 h 166"/>
              <a:gd name="T2" fmla="*/ 162 w 242"/>
              <a:gd name="T3" fmla="*/ 114 h 166"/>
              <a:gd name="T4" fmla="*/ 237 w 242"/>
              <a:gd name="T5" fmla="*/ 166 h 166"/>
              <a:gd name="T6" fmla="*/ 242 w 242"/>
              <a:gd name="T7" fmla="*/ 153 h 166"/>
              <a:gd name="T8" fmla="*/ 171 w 242"/>
              <a:gd name="T9" fmla="*/ 105 h 166"/>
              <a:gd name="T10" fmla="*/ 133 w 242"/>
              <a:gd name="T11" fmla="*/ 89 h 166"/>
              <a:gd name="T12" fmla="*/ 0 w 242"/>
              <a:gd name="T13" fmla="*/ 89 h 166"/>
              <a:gd name="T14" fmla="*/ 0 w 242"/>
              <a:gd name="T15" fmla="*/ 103 h 166"/>
              <a:gd name="T16" fmla="*/ 133 w 242"/>
              <a:gd name="T17" fmla="*/ 103 h 166"/>
              <a:gd name="T18" fmla="*/ 132 w 242"/>
              <a:gd name="T19" fmla="*/ 96 h 166"/>
              <a:gd name="T20" fmla="*/ 133 w 242"/>
              <a:gd name="T21" fmla="*/ 89 h 166"/>
              <a:gd name="T22" fmla="*/ 124 w 242"/>
              <a:gd name="T23" fmla="*/ 0 h 166"/>
              <a:gd name="T24" fmla="*/ 111 w 242"/>
              <a:gd name="T25" fmla="*/ 1 h 166"/>
              <a:gd name="T26" fmla="*/ 138 w 242"/>
              <a:gd name="T27" fmla="*/ 82 h 166"/>
              <a:gd name="T28" fmla="*/ 150 w 242"/>
              <a:gd name="T29" fmla="*/ 76 h 166"/>
              <a:gd name="T30" fmla="*/ 124 w 242"/>
              <a:gd name="T31" fmla="*/ 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42" h="166">
                <a:moveTo>
                  <a:pt x="171" y="105"/>
                </a:moveTo>
                <a:cubicBezTo>
                  <a:pt x="169" y="109"/>
                  <a:pt x="166" y="112"/>
                  <a:pt x="162" y="114"/>
                </a:cubicBezTo>
                <a:cubicBezTo>
                  <a:pt x="182" y="136"/>
                  <a:pt x="208" y="154"/>
                  <a:pt x="237" y="166"/>
                </a:cubicBezTo>
                <a:cubicBezTo>
                  <a:pt x="242" y="153"/>
                  <a:pt x="242" y="153"/>
                  <a:pt x="242" y="153"/>
                </a:cubicBezTo>
                <a:cubicBezTo>
                  <a:pt x="214" y="142"/>
                  <a:pt x="190" y="126"/>
                  <a:pt x="171" y="105"/>
                </a:cubicBezTo>
                <a:moveTo>
                  <a:pt x="133" y="89"/>
                </a:moveTo>
                <a:cubicBezTo>
                  <a:pt x="0" y="89"/>
                  <a:pt x="0" y="89"/>
                  <a:pt x="0" y="89"/>
                </a:cubicBezTo>
                <a:cubicBezTo>
                  <a:pt x="0" y="103"/>
                  <a:pt x="0" y="103"/>
                  <a:pt x="0" y="103"/>
                </a:cubicBezTo>
                <a:cubicBezTo>
                  <a:pt x="133" y="103"/>
                  <a:pt x="133" y="103"/>
                  <a:pt x="133" y="103"/>
                </a:cubicBezTo>
                <a:cubicBezTo>
                  <a:pt x="132" y="101"/>
                  <a:pt x="132" y="98"/>
                  <a:pt x="132" y="96"/>
                </a:cubicBezTo>
                <a:cubicBezTo>
                  <a:pt x="132" y="94"/>
                  <a:pt x="132" y="91"/>
                  <a:pt x="133" y="89"/>
                </a:cubicBezTo>
                <a:moveTo>
                  <a:pt x="124" y="0"/>
                </a:moveTo>
                <a:cubicBezTo>
                  <a:pt x="111" y="1"/>
                  <a:pt x="111" y="1"/>
                  <a:pt x="111" y="1"/>
                </a:cubicBezTo>
                <a:cubicBezTo>
                  <a:pt x="114" y="30"/>
                  <a:pt x="123" y="57"/>
                  <a:pt x="138" y="82"/>
                </a:cubicBezTo>
                <a:cubicBezTo>
                  <a:pt x="141" y="78"/>
                  <a:pt x="145" y="76"/>
                  <a:pt x="150" y="76"/>
                </a:cubicBezTo>
                <a:cubicBezTo>
                  <a:pt x="136" y="53"/>
                  <a:pt x="127" y="27"/>
                  <a:pt x="124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3" name="Freeform 28">
            <a:extLst>
              <a:ext uri="{FF2B5EF4-FFF2-40B4-BE49-F238E27FC236}">
                <a16:creationId xmlns:a16="http://schemas.microsoft.com/office/drawing/2014/main" id="{F192C65C-EEAD-4EDE-BD89-9CB0810CD4DC}"/>
              </a:ext>
            </a:extLst>
          </p:cNvPr>
          <p:cNvSpPr>
            <a:spLocks/>
          </p:cNvSpPr>
          <p:nvPr/>
        </p:nvSpPr>
        <p:spPr bwMode="auto">
          <a:xfrm>
            <a:off x="7626351" y="4922838"/>
            <a:ext cx="190500" cy="184150"/>
          </a:xfrm>
          <a:custGeom>
            <a:avLst/>
            <a:gdLst>
              <a:gd name="T0" fmla="*/ 18 w 39"/>
              <a:gd name="T1" fmla="*/ 0 h 38"/>
              <a:gd name="T2" fmla="*/ 6 w 39"/>
              <a:gd name="T3" fmla="*/ 6 h 38"/>
              <a:gd name="T4" fmla="*/ 11 w 39"/>
              <a:gd name="T5" fmla="*/ 13 h 38"/>
              <a:gd name="T6" fmla="*/ 1 w 39"/>
              <a:gd name="T7" fmla="*/ 13 h 38"/>
              <a:gd name="T8" fmla="*/ 0 w 39"/>
              <a:gd name="T9" fmla="*/ 20 h 38"/>
              <a:gd name="T10" fmla="*/ 1 w 39"/>
              <a:gd name="T11" fmla="*/ 27 h 38"/>
              <a:gd name="T12" fmla="*/ 20 w 39"/>
              <a:gd name="T13" fmla="*/ 27 h 38"/>
              <a:gd name="T14" fmla="*/ 30 w 39"/>
              <a:gd name="T15" fmla="*/ 38 h 38"/>
              <a:gd name="T16" fmla="*/ 39 w 39"/>
              <a:gd name="T17" fmla="*/ 29 h 38"/>
              <a:gd name="T18" fmla="*/ 18 w 39"/>
              <a:gd name="T1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" h="38">
                <a:moveTo>
                  <a:pt x="18" y="0"/>
                </a:moveTo>
                <a:cubicBezTo>
                  <a:pt x="13" y="0"/>
                  <a:pt x="9" y="2"/>
                  <a:pt x="6" y="6"/>
                </a:cubicBezTo>
                <a:cubicBezTo>
                  <a:pt x="7" y="8"/>
                  <a:pt x="9" y="11"/>
                  <a:pt x="1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5"/>
                  <a:pt x="0" y="18"/>
                  <a:pt x="0" y="20"/>
                </a:cubicBezTo>
                <a:cubicBezTo>
                  <a:pt x="0" y="22"/>
                  <a:pt x="0" y="25"/>
                  <a:pt x="1" y="27"/>
                </a:cubicBezTo>
                <a:cubicBezTo>
                  <a:pt x="20" y="27"/>
                  <a:pt x="20" y="27"/>
                  <a:pt x="20" y="27"/>
                </a:cubicBezTo>
                <a:cubicBezTo>
                  <a:pt x="23" y="31"/>
                  <a:pt x="27" y="35"/>
                  <a:pt x="30" y="38"/>
                </a:cubicBezTo>
                <a:cubicBezTo>
                  <a:pt x="34" y="36"/>
                  <a:pt x="37" y="33"/>
                  <a:pt x="39" y="29"/>
                </a:cubicBezTo>
                <a:cubicBezTo>
                  <a:pt x="31" y="20"/>
                  <a:pt x="24" y="10"/>
                  <a:pt x="18" y="0"/>
                </a:cubicBezTo>
              </a:path>
            </a:pathLst>
          </a:custGeom>
          <a:solidFill>
            <a:srgbClr val="373E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4" name="Oval 29">
            <a:extLst>
              <a:ext uri="{FF2B5EF4-FFF2-40B4-BE49-F238E27FC236}">
                <a16:creationId xmlns:a16="http://schemas.microsoft.com/office/drawing/2014/main" id="{4B97B2C8-8A29-491F-8658-6DE1B6DEC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0326" y="4975226"/>
            <a:ext cx="92075" cy="88900"/>
          </a:xfrm>
          <a:prstGeom prst="ellipse">
            <a:avLst/>
          </a:prstGeom>
          <a:solidFill>
            <a:srgbClr val="E6EA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5" name="Oval 30">
            <a:extLst>
              <a:ext uri="{FF2B5EF4-FFF2-40B4-BE49-F238E27FC236}">
                <a16:creationId xmlns:a16="http://schemas.microsoft.com/office/drawing/2014/main" id="{1F9A716B-6285-4ACE-92B4-E60E8208D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7376" y="4975226"/>
            <a:ext cx="88900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6" name="Oval 31">
            <a:extLst>
              <a:ext uri="{FF2B5EF4-FFF2-40B4-BE49-F238E27FC236}">
                <a16:creationId xmlns:a16="http://schemas.microsoft.com/office/drawing/2014/main" id="{7B25EF96-88AA-4058-A3FB-B8607F34D7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3638" y="4506913"/>
            <a:ext cx="87313" cy="8890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7" name="Oval 32">
            <a:extLst>
              <a:ext uri="{FF2B5EF4-FFF2-40B4-BE49-F238E27FC236}">
                <a16:creationId xmlns:a16="http://schemas.microsoft.com/office/drawing/2014/main" id="{6E848C42-923C-4A1E-B354-A5D5B0F71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4188" y="5287963"/>
            <a:ext cx="87313" cy="82550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8" name="Freeform 33">
            <a:extLst>
              <a:ext uri="{FF2B5EF4-FFF2-40B4-BE49-F238E27FC236}">
                <a16:creationId xmlns:a16="http://schemas.microsoft.com/office/drawing/2014/main" id="{4105790E-9C6D-4303-9ACE-C4519C2195FC}"/>
              </a:ext>
            </a:extLst>
          </p:cNvPr>
          <p:cNvSpPr>
            <a:spLocks noEditPoints="1"/>
          </p:cNvSpPr>
          <p:nvPr/>
        </p:nvSpPr>
        <p:spPr bwMode="auto">
          <a:xfrm>
            <a:off x="5440363" y="1257301"/>
            <a:ext cx="4849813" cy="4851400"/>
          </a:xfrm>
          <a:custGeom>
            <a:avLst/>
            <a:gdLst>
              <a:gd name="T0" fmla="*/ 706 w 994"/>
              <a:gd name="T1" fmla="*/ 832 h 994"/>
              <a:gd name="T2" fmla="*/ 706 w 994"/>
              <a:gd name="T3" fmla="*/ 831 h 994"/>
              <a:gd name="T4" fmla="*/ 656 w 994"/>
              <a:gd name="T5" fmla="*/ 812 h 994"/>
              <a:gd name="T6" fmla="*/ 655 w 994"/>
              <a:gd name="T7" fmla="*/ 812 h 994"/>
              <a:gd name="T8" fmla="*/ 653 w 994"/>
              <a:gd name="T9" fmla="*/ 812 h 994"/>
              <a:gd name="T10" fmla="*/ 652 w 994"/>
              <a:gd name="T11" fmla="*/ 812 h 994"/>
              <a:gd name="T12" fmla="*/ 651 w 994"/>
              <a:gd name="T13" fmla="*/ 812 h 994"/>
              <a:gd name="T14" fmla="*/ 958 w 994"/>
              <a:gd name="T15" fmla="*/ 826 h 994"/>
              <a:gd name="T16" fmla="*/ 958 w 994"/>
              <a:gd name="T17" fmla="*/ 827 h 994"/>
              <a:gd name="T18" fmla="*/ 958 w 994"/>
              <a:gd name="T19" fmla="*/ 828 h 994"/>
              <a:gd name="T20" fmla="*/ 958 w 994"/>
              <a:gd name="T21" fmla="*/ 829 h 994"/>
              <a:gd name="T22" fmla="*/ 958 w 994"/>
              <a:gd name="T23" fmla="*/ 829 h 994"/>
              <a:gd name="T24" fmla="*/ 958 w 994"/>
              <a:gd name="T25" fmla="*/ 830 h 994"/>
              <a:gd name="T26" fmla="*/ 958 w 994"/>
              <a:gd name="T27" fmla="*/ 831 h 994"/>
              <a:gd name="T28" fmla="*/ 832 w 994"/>
              <a:gd name="T29" fmla="*/ 958 h 994"/>
              <a:gd name="T30" fmla="*/ 831 w 994"/>
              <a:gd name="T31" fmla="*/ 958 h 994"/>
              <a:gd name="T32" fmla="*/ 830 w 994"/>
              <a:gd name="T33" fmla="*/ 958 h 994"/>
              <a:gd name="T34" fmla="*/ 937 w 994"/>
              <a:gd name="T35" fmla="*/ 762 h 994"/>
              <a:gd name="T36" fmla="*/ 497 w 994"/>
              <a:gd name="T37" fmla="*/ 654 h 994"/>
              <a:gd name="T38" fmla="*/ 497 w 994"/>
              <a:gd name="T39" fmla="*/ 653 h 994"/>
              <a:gd name="T40" fmla="*/ 497 w 994"/>
              <a:gd name="T41" fmla="*/ 652 h 994"/>
              <a:gd name="T42" fmla="*/ 433 w 994"/>
              <a:gd name="T43" fmla="*/ 628 h 994"/>
              <a:gd name="T44" fmla="*/ 431 w 994"/>
              <a:gd name="T45" fmla="*/ 628 h 994"/>
              <a:gd name="T46" fmla="*/ 430 w 994"/>
              <a:gd name="T47" fmla="*/ 628 h 994"/>
              <a:gd name="T48" fmla="*/ 428 w 994"/>
              <a:gd name="T49" fmla="*/ 628 h 994"/>
              <a:gd name="T50" fmla="*/ 426 w 994"/>
              <a:gd name="T51" fmla="*/ 628 h 994"/>
              <a:gd name="T52" fmla="*/ 812 w 994"/>
              <a:gd name="T53" fmla="*/ 650 h 994"/>
              <a:gd name="T54" fmla="*/ 812 w 994"/>
              <a:gd name="T55" fmla="*/ 651 h 994"/>
              <a:gd name="T56" fmla="*/ 812 w 994"/>
              <a:gd name="T57" fmla="*/ 652 h 994"/>
              <a:gd name="T58" fmla="*/ 812 w 994"/>
              <a:gd name="T59" fmla="*/ 653 h 994"/>
              <a:gd name="T60" fmla="*/ 812 w 994"/>
              <a:gd name="T61" fmla="*/ 654 h 994"/>
              <a:gd name="T62" fmla="*/ 812 w 994"/>
              <a:gd name="T63" fmla="*/ 655 h 994"/>
              <a:gd name="T64" fmla="*/ 831 w 994"/>
              <a:gd name="T65" fmla="*/ 706 h 994"/>
              <a:gd name="T66" fmla="*/ 832 w 994"/>
              <a:gd name="T67" fmla="*/ 706 h 994"/>
              <a:gd name="T68" fmla="*/ 234 w 994"/>
              <a:gd name="T69" fmla="*/ 431 h 994"/>
              <a:gd name="T70" fmla="*/ 234 w 994"/>
              <a:gd name="T71" fmla="*/ 430 h 994"/>
              <a:gd name="T72" fmla="*/ 234 w 994"/>
              <a:gd name="T73" fmla="*/ 429 h 994"/>
              <a:gd name="T74" fmla="*/ 157 w 994"/>
              <a:gd name="T75" fmla="*/ 402 h 994"/>
              <a:gd name="T76" fmla="*/ 156 w 994"/>
              <a:gd name="T77" fmla="*/ 402 h 994"/>
              <a:gd name="T78" fmla="*/ 154 w 994"/>
              <a:gd name="T79" fmla="*/ 402 h 994"/>
              <a:gd name="T80" fmla="*/ 153 w 994"/>
              <a:gd name="T81" fmla="*/ 402 h 994"/>
              <a:gd name="T82" fmla="*/ 628 w 994"/>
              <a:gd name="T83" fmla="*/ 426 h 994"/>
              <a:gd name="T84" fmla="*/ 628 w 994"/>
              <a:gd name="T85" fmla="*/ 427 h 994"/>
              <a:gd name="T86" fmla="*/ 628 w 994"/>
              <a:gd name="T87" fmla="*/ 429 h 994"/>
              <a:gd name="T88" fmla="*/ 628 w 994"/>
              <a:gd name="T89" fmla="*/ 430 h 994"/>
              <a:gd name="T90" fmla="*/ 628 w 994"/>
              <a:gd name="T91" fmla="*/ 431 h 994"/>
              <a:gd name="T92" fmla="*/ 628 w 994"/>
              <a:gd name="T93" fmla="*/ 433 h 994"/>
              <a:gd name="T94" fmla="*/ 621 w 994"/>
              <a:gd name="T95" fmla="*/ 500 h 994"/>
              <a:gd name="T96" fmla="*/ 649 w 994"/>
              <a:gd name="T97" fmla="*/ 497 h 994"/>
              <a:gd name="T98" fmla="*/ 651 w 994"/>
              <a:gd name="T99" fmla="*/ 497 h 994"/>
              <a:gd name="T100" fmla="*/ 652 w 994"/>
              <a:gd name="T101" fmla="*/ 497 h 994"/>
              <a:gd name="T102" fmla="*/ 653 w 994"/>
              <a:gd name="T103" fmla="*/ 497 h 994"/>
              <a:gd name="T104" fmla="*/ 654 w 994"/>
              <a:gd name="T105" fmla="*/ 497 h 994"/>
              <a:gd name="T106" fmla="*/ 347 w 994"/>
              <a:gd name="T107" fmla="*/ 0 h 994"/>
              <a:gd name="T108" fmla="*/ 402 w 994"/>
              <a:gd name="T109" fmla="*/ 154 h 994"/>
              <a:gd name="T110" fmla="*/ 402 w 994"/>
              <a:gd name="T111" fmla="*/ 155 h 994"/>
              <a:gd name="T112" fmla="*/ 402 w 994"/>
              <a:gd name="T113" fmla="*/ 156 h 994"/>
              <a:gd name="T114" fmla="*/ 429 w 994"/>
              <a:gd name="T115" fmla="*/ 234 h 994"/>
              <a:gd name="T116" fmla="*/ 431 w 994"/>
              <a:gd name="T117" fmla="*/ 23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94" h="994">
                <a:moveTo>
                  <a:pt x="562" y="782"/>
                </a:moveTo>
                <a:cubicBezTo>
                  <a:pt x="591" y="822"/>
                  <a:pt x="638" y="848"/>
                  <a:pt x="690" y="848"/>
                </a:cubicBezTo>
                <a:cubicBezTo>
                  <a:pt x="696" y="848"/>
                  <a:pt x="701" y="847"/>
                  <a:pt x="707" y="847"/>
                </a:cubicBezTo>
                <a:cubicBezTo>
                  <a:pt x="706" y="842"/>
                  <a:pt x="706" y="837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2"/>
                </a:cubicBezTo>
                <a:cubicBezTo>
                  <a:pt x="706" y="832"/>
                  <a:pt x="706" y="832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31"/>
                  <a:pt x="706" y="831"/>
                  <a:pt x="706" y="831"/>
                </a:cubicBezTo>
                <a:cubicBezTo>
                  <a:pt x="706" y="821"/>
                  <a:pt x="707" y="811"/>
                  <a:pt x="709" y="802"/>
                </a:cubicBezTo>
                <a:cubicBezTo>
                  <a:pt x="693" y="808"/>
                  <a:pt x="675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6" y="812"/>
                  <a:pt x="656" y="812"/>
                  <a:pt x="656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5" y="812"/>
                  <a:pt x="655" y="812"/>
                  <a:pt x="655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4" y="812"/>
                  <a:pt x="654" y="812"/>
                  <a:pt x="654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3" y="812"/>
                  <a:pt x="653" y="812"/>
                </a:cubicBezTo>
                <a:cubicBezTo>
                  <a:pt x="653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2" y="812"/>
                  <a:pt x="652" y="812"/>
                </a:cubicBezTo>
                <a:cubicBezTo>
                  <a:pt x="652" y="812"/>
                  <a:pt x="651" y="812"/>
                  <a:pt x="651" y="812"/>
                </a:cubicBezTo>
                <a:cubicBezTo>
                  <a:pt x="651" y="812"/>
                  <a:pt x="651" y="812"/>
                  <a:pt x="651" y="812"/>
                </a:cubicBezTo>
                <a:cubicBezTo>
                  <a:pt x="651" y="812"/>
                  <a:pt x="651" y="812"/>
                  <a:pt x="651" y="812"/>
                </a:cubicBezTo>
                <a:cubicBezTo>
                  <a:pt x="651" y="812"/>
                  <a:pt x="651" y="812"/>
                  <a:pt x="651" y="812"/>
                </a:cubicBezTo>
                <a:cubicBezTo>
                  <a:pt x="651" y="812"/>
                  <a:pt x="651" y="812"/>
                  <a:pt x="651" y="812"/>
                </a:cubicBezTo>
                <a:cubicBezTo>
                  <a:pt x="651" y="812"/>
                  <a:pt x="651" y="812"/>
                  <a:pt x="651" y="812"/>
                </a:cubicBezTo>
                <a:cubicBezTo>
                  <a:pt x="651" y="812"/>
                  <a:pt x="651" y="812"/>
                  <a:pt x="650" y="812"/>
                </a:cubicBezTo>
                <a:cubicBezTo>
                  <a:pt x="650" y="812"/>
                  <a:pt x="650" y="812"/>
                  <a:pt x="650" y="812"/>
                </a:cubicBezTo>
                <a:cubicBezTo>
                  <a:pt x="650" y="812"/>
                  <a:pt x="650" y="812"/>
                  <a:pt x="650" y="812"/>
                </a:cubicBezTo>
                <a:cubicBezTo>
                  <a:pt x="650" y="812"/>
                  <a:pt x="650" y="812"/>
                  <a:pt x="650" y="812"/>
                </a:cubicBezTo>
                <a:cubicBezTo>
                  <a:pt x="617" y="811"/>
                  <a:pt x="587" y="800"/>
                  <a:pt x="562" y="782"/>
                </a:cubicBezTo>
                <a:moveTo>
                  <a:pt x="937" y="762"/>
                </a:moveTo>
                <a:cubicBezTo>
                  <a:pt x="949" y="781"/>
                  <a:pt x="957" y="802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6"/>
                  <a:pt x="958" y="826"/>
                  <a:pt x="958" y="826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7"/>
                  <a:pt x="958" y="827"/>
                </a:cubicBezTo>
                <a:cubicBezTo>
                  <a:pt x="958" y="827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8"/>
                  <a:pt x="958" y="828"/>
                  <a:pt x="958" y="828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29"/>
                  <a:pt x="958" y="829"/>
                  <a:pt x="958" y="829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0"/>
                  <a:pt x="958" y="830"/>
                  <a:pt x="958" y="830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1"/>
                  <a:pt x="958" y="831"/>
                  <a:pt x="958" y="831"/>
                </a:cubicBezTo>
                <a:cubicBezTo>
                  <a:pt x="958" y="832"/>
                  <a:pt x="958" y="832"/>
                  <a:pt x="958" y="832"/>
                </a:cubicBezTo>
                <a:cubicBezTo>
                  <a:pt x="958" y="832"/>
                  <a:pt x="958" y="832"/>
                  <a:pt x="958" y="832"/>
                </a:cubicBezTo>
                <a:cubicBezTo>
                  <a:pt x="958" y="832"/>
                  <a:pt x="958" y="832"/>
                  <a:pt x="958" y="832"/>
                </a:cubicBezTo>
                <a:cubicBezTo>
                  <a:pt x="958" y="832"/>
                  <a:pt x="958" y="832"/>
                  <a:pt x="958" y="832"/>
                </a:cubicBezTo>
                <a:cubicBezTo>
                  <a:pt x="958" y="901"/>
                  <a:pt x="902" y="958"/>
                  <a:pt x="832" y="958"/>
                </a:cubicBezTo>
                <a:cubicBezTo>
                  <a:pt x="832" y="958"/>
                  <a:pt x="832" y="958"/>
                  <a:pt x="832" y="958"/>
                </a:cubicBezTo>
                <a:cubicBezTo>
                  <a:pt x="832" y="958"/>
                  <a:pt x="832" y="958"/>
                  <a:pt x="832" y="958"/>
                </a:cubicBezTo>
                <a:cubicBezTo>
                  <a:pt x="832" y="958"/>
                  <a:pt x="832" y="958"/>
                  <a:pt x="832" y="958"/>
                </a:cubicBezTo>
                <a:cubicBezTo>
                  <a:pt x="832" y="958"/>
                  <a:pt x="832" y="958"/>
                  <a:pt x="832" y="958"/>
                </a:cubicBezTo>
                <a:cubicBezTo>
                  <a:pt x="832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1" y="958"/>
                  <a:pt x="831" y="958"/>
                </a:cubicBezTo>
                <a:cubicBezTo>
                  <a:pt x="831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30" y="958"/>
                </a:cubicBezTo>
                <a:cubicBezTo>
                  <a:pt x="830" y="958"/>
                  <a:pt x="830" y="958"/>
                  <a:pt x="829" y="958"/>
                </a:cubicBezTo>
                <a:cubicBezTo>
                  <a:pt x="829" y="958"/>
                  <a:pt x="829" y="958"/>
                  <a:pt x="829" y="958"/>
                </a:cubicBezTo>
                <a:cubicBezTo>
                  <a:pt x="805" y="957"/>
                  <a:pt x="782" y="950"/>
                  <a:pt x="763" y="937"/>
                </a:cubicBezTo>
                <a:cubicBezTo>
                  <a:pt x="785" y="971"/>
                  <a:pt x="824" y="994"/>
                  <a:pt x="868" y="994"/>
                </a:cubicBezTo>
                <a:cubicBezTo>
                  <a:pt x="937" y="994"/>
                  <a:pt x="994" y="937"/>
                  <a:pt x="994" y="868"/>
                </a:cubicBezTo>
                <a:cubicBezTo>
                  <a:pt x="994" y="824"/>
                  <a:pt x="971" y="785"/>
                  <a:pt x="937" y="762"/>
                </a:cubicBezTo>
                <a:moveTo>
                  <a:pt x="311" y="587"/>
                </a:moveTo>
                <a:cubicBezTo>
                  <a:pt x="347" y="634"/>
                  <a:pt x="404" y="664"/>
                  <a:pt x="467" y="664"/>
                </a:cubicBezTo>
                <a:cubicBezTo>
                  <a:pt x="477" y="664"/>
                  <a:pt x="487" y="663"/>
                  <a:pt x="497" y="662"/>
                </a:cubicBezTo>
                <a:cubicBezTo>
                  <a:pt x="497" y="659"/>
                  <a:pt x="497" y="657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4"/>
                </a:cubicBezTo>
                <a:cubicBezTo>
                  <a:pt x="497" y="654"/>
                  <a:pt x="497" y="654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3"/>
                </a:cubicBezTo>
                <a:cubicBezTo>
                  <a:pt x="497" y="653"/>
                  <a:pt x="497" y="653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52"/>
                  <a:pt x="497" y="652"/>
                  <a:pt x="497" y="652"/>
                </a:cubicBezTo>
                <a:cubicBezTo>
                  <a:pt x="497" y="639"/>
                  <a:pt x="499" y="627"/>
                  <a:pt x="502" y="615"/>
                </a:cubicBezTo>
                <a:cubicBezTo>
                  <a:pt x="481" y="623"/>
                  <a:pt x="458" y="628"/>
                  <a:pt x="434" y="628"/>
                </a:cubicBezTo>
                <a:cubicBezTo>
                  <a:pt x="434" y="628"/>
                  <a:pt x="434" y="628"/>
                  <a:pt x="434" y="628"/>
                </a:cubicBezTo>
                <a:cubicBezTo>
                  <a:pt x="434" y="628"/>
                  <a:pt x="434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3" y="628"/>
                  <a:pt x="432" y="628"/>
                  <a:pt x="432" y="628"/>
                </a:cubicBezTo>
                <a:cubicBezTo>
                  <a:pt x="432" y="628"/>
                  <a:pt x="432" y="628"/>
                  <a:pt x="432" y="628"/>
                </a:cubicBezTo>
                <a:cubicBezTo>
                  <a:pt x="432" y="628"/>
                  <a:pt x="432" y="628"/>
                  <a:pt x="432" y="628"/>
                </a:cubicBezTo>
                <a:cubicBezTo>
                  <a:pt x="432" y="628"/>
                  <a:pt x="432" y="628"/>
                  <a:pt x="432" y="628"/>
                </a:cubicBezTo>
                <a:cubicBezTo>
                  <a:pt x="432" y="628"/>
                  <a:pt x="432" y="628"/>
                  <a:pt x="432" y="628"/>
                </a:cubicBezTo>
                <a:cubicBezTo>
                  <a:pt x="432" y="628"/>
                  <a:pt x="432" y="628"/>
                  <a:pt x="432" y="628"/>
                </a:cubicBezTo>
                <a:cubicBezTo>
                  <a:pt x="432" y="628"/>
                  <a:pt x="431" y="628"/>
                  <a:pt x="431" y="628"/>
                </a:cubicBezTo>
                <a:cubicBezTo>
                  <a:pt x="431" y="628"/>
                  <a:pt x="431" y="628"/>
                  <a:pt x="431" y="628"/>
                </a:cubicBezTo>
                <a:cubicBezTo>
                  <a:pt x="431" y="628"/>
                  <a:pt x="431" y="628"/>
                  <a:pt x="431" y="628"/>
                </a:cubicBezTo>
                <a:cubicBezTo>
                  <a:pt x="431" y="628"/>
                  <a:pt x="431" y="628"/>
                  <a:pt x="431" y="628"/>
                </a:cubicBezTo>
                <a:cubicBezTo>
                  <a:pt x="431" y="628"/>
                  <a:pt x="431" y="628"/>
                  <a:pt x="431" y="628"/>
                </a:cubicBezTo>
                <a:cubicBezTo>
                  <a:pt x="431" y="628"/>
                  <a:pt x="431" y="628"/>
                  <a:pt x="430" y="628"/>
                </a:cubicBezTo>
                <a:cubicBezTo>
                  <a:pt x="430" y="628"/>
                  <a:pt x="430" y="628"/>
                  <a:pt x="430" y="628"/>
                </a:cubicBezTo>
                <a:cubicBezTo>
                  <a:pt x="430" y="628"/>
                  <a:pt x="430" y="628"/>
                  <a:pt x="430" y="628"/>
                </a:cubicBezTo>
                <a:cubicBezTo>
                  <a:pt x="430" y="628"/>
                  <a:pt x="430" y="628"/>
                  <a:pt x="430" y="628"/>
                </a:cubicBezTo>
                <a:cubicBezTo>
                  <a:pt x="430" y="628"/>
                  <a:pt x="430" y="628"/>
                  <a:pt x="430" y="628"/>
                </a:cubicBezTo>
                <a:cubicBezTo>
                  <a:pt x="430" y="628"/>
                  <a:pt x="430" y="628"/>
                  <a:pt x="430" y="628"/>
                </a:cubicBezTo>
                <a:cubicBezTo>
                  <a:pt x="430" y="628"/>
                  <a:pt x="430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9" y="628"/>
                </a:cubicBezTo>
                <a:cubicBezTo>
                  <a:pt x="429" y="628"/>
                  <a:pt x="429" y="628"/>
                  <a:pt x="428" y="628"/>
                </a:cubicBezTo>
                <a:cubicBezTo>
                  <a:pt x="428" y="628"/>
                  <a:pt x="428" y="628"/>
                  <a:pt x="428" y="628"/>
                </a:cubicBezTo>
                <a:cubicBezTo>
                  <a:pt x="428" y="628"/>
                  <a:pt x="428" y="628"/>
                  <a:pt x="428" y="628"/>
                </a:cubicBezTo>
                <a:cubicBezTo>
                  <a:pt x="428" y="628"/>
                  <a:pt x="428" y="628"/>
                  <a:pt x="428" y="628"/>
                </a:cubicBezTo>
                <a:cubicBezTo>
                  <a:pt x="428" y="628"/>
                  <a:pt x="428" y="628"/>
                  <a:pt x="428" y="628"/>
                </a:cubicBezTo>
                <a:cubicBezTo>
                  <a:pt x="428" y="628"/>
                  <a:pt x="428" y="628"/>
                  <a:pt x="428" y="628"/>
                </a:cubicBezTo>
                <a:cubicBezTo>
                  <a:pt x="428" y="628"/>
                  <a:pt x="428" y="628"/>
                  <a:pt x="427" y="628"/>
                </a:cubicBezTo>
                <a:cubicBezTo>
                  <a:pt x="427" y="628"/>
                  <a:pt x="427" y="628"/>
                  <a:pt x="427" y="628"/>
                </a:cubicBezTo>
                <a:cubicBezTo>
                  <a:pt x="427" y="628"/>
                  <a:pt x="427" y="628"/>
                  <a:pt x="427" y="628"/>
                </a:cubicBezTo>
                <a:cubicBezTo>
                  <a:pt x="427" y="628"/>
                  <a:pt x="427" y="628"/>
                  <a:pt x="427" y="628"/>
                </a:cubicBezTo>
                <a:cubicBezTo>
                  <a:pt x="427" y="628"/>
                  <a:pt x="426" y="628"/>
                  <a:pt x="426" y="628"/>
                </a:cubicBezTo>
                <a:cubicBezTo>
                  <a:pt x="426" y="628"/>
                  <a:pt x="426" y="628"/>
                  <a:pt x="426" y="628"/>
                </a:cubicBezTo>
                <a:cubicBezTo>
                  <a:pt x="426" y="628"/>
                  <a:pt x="426" y="628"/>
                  <a:pt x="426" y="628"/>
                </a:cubicBezTo>
                <a:cubicBezTo>
                  <a:pt x="426" y="628"/>
                  <a:pt x="426" y="628"/>
                  <a:pt x="426" y="628"/>
                </a:cubicBezTo>
                <a:cubicBezTo>
                  <a:pt x="383" y="627"/>
                  <a:pt x="343" y="612"/>
                  <a:pt x="311" y="587"/>
                </a:cubicBezTo>
                <a:moveTo>
                  <a:pt x="783" y="562"/>
                </a:moveTo>
                <a:cubicBezTo>
                  <a:pt x="800" y="587"/>
                  <a:pt x="811" y="617"/>
                  <a:pt x="812" y="649"/>
                </a:cubicBezTo>
                <a:cubicBezTo>
                  <a:pt x="812" y="649"/>
                  <a:pt x="812" y="649"/>
                  <a:pt x="812" y="649"/>
                </a:cubicBezTo>
                <a:cubicBezTo>
                  <a:pt x="812" y="649"/>
                  <a:pt x="812" y="650"/>
                  <a:pt x="812" y="650"/>
                </a:cubicBezTo>
                <a:cubicBezTo>
                  <a:pt x="812" y="650"/>
                  <a:pt x="812" y="650"/>
                  <a:pt x="812" y="650"/>
                </a:cubicBezTo>
                <a:cubicBezTo>
                  <a:pt x="812" y="650"/>
                  <a:pt x="812" y="650"/>
                  <a:pt x="812" y="650"/>
                </a:cubicBezTo>
                <a:cubicBezTo>
                  <a:pt x="812" y="650"/>
                  <a:pt x="812" y="650"/>
                  <a:pt x="812" y="650"/>
                </a:cubicBezTo>
                <a:cubicBezTo>
                  <a:pt x="812" y="650"/>
                  <a:pt x="812" y="650"/>
                  <a:pt x="812" y="650"/>
                </a:cubicBezTo>
                <a:cubicBezTo>
                  <a:pt x="812" y="650"/>
                  <a:pt x="812" y="650"/>
                  <a:pt x="812" y="650"/>
                </a:cubicBezTo>
                <a:cubicBezTo>
                  <a:pt x="812" y="650"/>
                  <a:pt x="812" y="650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1"/>
                </a:cubicBezTo>
                <a:cubicBezTo>
                  <a:pt x="812" y="651"/>
                  <a:pt x="812" y="651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2"/>
                </a:cubicBezTo>
                <a:cubicBezTo>
                  <a:pt x="812" y="652"/>
                  <a:pt x="812" y="652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3"/>
                </a:cubicBezTo>
                <a:cubicBezTo>
                  <a:pt x="812" y="653"/>
                  <a:pt x="812" y="653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4"/>
                  <a:pt x="812" y="654"/>
                  <a:pt x="812" y="654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5"/>
                  <a:pt x="812" y="655"/>
                </a:cubicBezTo>
                <a:cubicBezTo>
                  <a:pt x="812" y="655"/>
                  <a:pt x="812" y="656"/>
                  <a:pt x="812" y="656"/>
                </a:cubicBezTo>
                <a:cubicBezTo>
                  <a:pt x="812" y="656"/>
                  <a:pt x="812" y="656"/>
                  <a:pt x="812" y="656"/>
                </a:cubicBezTo>
                <a:cubicBezTo>
                  <a:pt x="812" y="656"/>
                  <a:pt x="812" y="656"/>
                  <a:pt x="812" y="656"/>
                </a:cubicBezTo>
                <a:cubicBezTo>
                  <a:pt x="812" y="656"/>
                  <a:pt x="812" y="656"/>
                  <a:pt x="812" y="656"/>
                </a:cubicBezTo>
                <a:cubicBezTo>
                  <a:pt x="812" y="675"/>
                  <a:pt x="809" y="692"/>
                  <a:pt x="802" y="709"/>
                </a:cubicBezTo>
                <a:cubicBezTo>
                  <a:pt x="812" y="707"/>
                  <a:pt x="821" y="706"/>
                  <a:pt x="831" y="706"/>
                </a:cubicBezTo>
                <a:cubicBezTo>
                  <a:pt x="831" y="706"/>
                  <a:pt x="831" y="706"/>
                  <a:pt x="831" y="706"/>
                </a:cubicBezTo>
                <a:cubicBezTo>
                  <a:pt x="831" y="706"/>
                  <a:pt x="831" y="706"/>
                  <a:pt x="831" y="706"/>
                </a:cubicBezTo>
                <a:cubicBezTo>
                  <a:pt x="831" y="706"/>
                  <a:pt x="831" y="706"/>
                  <a:pt x="831" y="706"/>
                </a:cubicBezTo>
                <a:cubicBezTo>
                  <a:pt x="831" y="706"/>
                  <a:pt x="831" y="706"/>
                  <a:pt x="831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2" y="706"/>
                  <a:pt x="832" y="706"/>
                  <a:pt x="832" y="706"/>
                </a:cubicBezTo>
                <a:cubicBezTo>
                  <a:pt x="837" y="706"/>
                  <a:pt x="842" y="706"/>
                  <a:pt x="847" y="706"/>
                </a:cubicBezTo>
                <a:cubicBezTo>
                  <a:pt x="848" y="701"/>
                  <a:pt x="848" y="696"/>
                  <a:pt x="848" y="690"/>
                </a:cubicBezTo>
                <a:cubicBezTo>
                  <a:pt x="848" y="637"/>
                  <a:pt x="822" y="591"/>
                  <a:pt x="783" y="562"/>
                </a:cubicBezTo>
                <a:moveTo>
                  <a:pt x="0" y="346"/>
                </a:moveTo>
                <a:cubicBezTo>
                  <a:pt x="46" y="402"/>
                  <a:pt x="114" y="437"/>
                  <a:pt x="191" y="437"/>
                </a:cubicBezTo>
                <a:cubicBezTo>
                  <a:pt x="206" y="437"/>
                  <a:pt x="220" y="436"/>
                  <a:pt x="234" y="434"/>
                </a:cubicBezTo>
                <a:cubicBezTo>
                  <a:pt x="234" y="433"/>
                  <a:pt x="234" y="432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1"/>
                </a:cubicBezTo>
                <a:cubicBezTo>
                  <a:pt x="234" y="431"/>
                  <a:pt x="234" y="431"/>
                  <a:pt x="234" y="430"/>
                </a:cubicBezTo>
                <a:cubicBezTo>
                  <a:pt x="234" y="430"/>
                  <a:pt x="234" y="430"/>
                  <a:pt x="234" y="430"/>
                </a:cubicBezTo>
                <a:cubicBezTo>
                  <a:pt x="234" y="430"/>
                  <a:pt x="234" y="430"/>
                  <a:pt x="234" y="430"/>
                </a:cubicBezTo>
                <a:cubicBezTo>
                  <a:pt x="234" y="430"/>
                  <a:pt x="234" y="430"/>
                  <a:pt x="234" y="430"/>
                </a:cubicBezTo>
                <a:cubicBezTo>
                  <a:pt x="234" y="430"/>
                  <a:pt x="234" y="430"/>
                  <a:pt x="234" y="430"/>
                </a:cubicBezTo>
                <a:cubicBezTo>
                  <a:pt x="234" y="430"/>
                  <a:pt x="234" y="430"/>
                  <a:pt x="234" y="430"/>
                </a:cubicBezTo>
                <a:cubicBezTo>
                  <a:pt x="234" y="430"/>
                  <a:pt x="234" y="430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9"/>
                  <a:pt x="234" y="429"/>
                </a:cubicBezTo>
                <a:cubicBezTo>
                  <a:pt x="234" y="429"/>
                  <a:pt x="234" y="428"/>
                  <a:pt x="234" y="428"/>
                </a:cubicBezTo>
                <a:cubicBezTo>
                  <a:pt x="234" y="428"/>
                  <a:pt x="234" y="428"/>
                  <a:pt x="234" y="428"/>
                </a:cubicBezTo>
                <a:cubicBezTo>
                  <a:pt x="234" y="428"/>
                  <a:pt x="234" y="428"/>
                  <a:pt x="234" y="428"/>
                </a:cubicBezTo>
                <a:cubicBezTo>
                  <a:pt x="234" y="428"/>
                  <a:pt x="234" y="428"/>
                  <a:pt x="234" y="428"/>
                </a:cubicBezTo>
                <a:cubicBezTo>
                  <a:pt x="234" y="428"/>
                  <a:pt x="234" y="428"/>
                  <a:pt x="234" y="428"/>
                </a:cubicBezTo>
                <a:cubicBezTo>
                  <a:pt x="234" y="428"/>
                  <a:pt x="234" y="428"/>
                  <a:pt x="234" y="428"/>
                </a:cubicBezTo>
                <a:cubicBezTo>
                  <a:pt x="235" y="414"/>
                  <a:pt x="236" y="400"/>
                  <a:pt x="239" y="387"/>
                </a:cubicBezTo>
                <a:cubicBezTo>
                  <a:pt x="214" y="396"/>
                  <a:pt x="186" y="401"/>
                  <a:pt x="157" y="402"/>
                </a:cubicBezTo>
                <a:cubicBezTo>
                  <a:pt x="157" y="402"/>
                  <a:pt x="157" y="402"/>
                  <a:pt x="157" y="402"/>
                </a:cubicBezTo>
                <a:cubicBezTo>
                  <a:pt x="157" y="402"/>
                  <a:pt x="157" y="402"/>
                  <a:pt x="157" y="402"/>
                </a:cubicBezTo>
                <a:cubicBezTo>
                  <a:pt x="157" y="402"/>
                  <a:pt x="157" y="402"/>
                  <a:pt x="157" y="402"/>
                </a:cubicBezTo>
                <a:cubicBezTo>
                  <a:pt x="157" y="402"/>
                  <a:pt x="157" y="402"/>
                  <a:pt x="157" y="402"/>
                </a:cubicBezTo>
                <a:cubicBezTo>
                  <a:pt x="157" y="402"/>
                  <a:pt x="157" y="402"/>
                  <a:pt x="157" y="402"/>
                </a:cubicBezTo>
                <a:cubicBezTo>
                  <a:pt x="157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6" y="402"/>
                  <a:pt x="156" y="402"/>
                </a:cubicBezTo>
                <a:cubicBezTo>
                  <a:pt x="156" y="402"/>
                  <a:pt x="155" y="402"/>
                  <a:pt x="155" y="402"/>
                </a:cubicBezTo>
                <a:cubicBezTo>
                  <a:pt x="155" y="402"/>
                  <a:pt x="155" y="402"/>
                  <a:pt x="155" y="402"/>
                </a:cubicBezTo>
                <a:cubicBezTo>
                  <a:pt x="155" y="402"/>
                  <a:pt x="155" y="402"/>
                  <a:pt x="155" y="402"/>
                </a:cubicBezTo>
                <a:cubicBezTo>
                  <a:pt x="155" y="402"/>
                  <a:pt x="155" y="402"/>
                  <a:pt x="155" y="402"/>
                </a:cubicBezTo>
                <a:cubicBezTo>
                  <a:pt x="155" y="402"/>
                  <a:pt x="155" y="402"/>
                  <a:pt x="155" y="402"/>
                </a:cubicBezTo>
                <a:cubicBezTo>
                  <a:pt x="155" y="402"/>
                  <a:pt x="155" y="402"/>
                  <a:pt x="155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4" y="402"/>
                  <a:pt x="154" y="402"/>
                  <a:pt x="154" y="402"/>
                </a:cubicBezTo>
                <a:cubicBezTo>
                  <a:pt x="153" y="402"/>
                  <a:pt x="153" y="402"/>
                  <a:pt x="153" y="402"/>
                </a:cubicBezTo>
                <a:cubicBezTo>
                  <a:pt x="153" y="402"/>
                  <a:pt x="153" y="402"/>
                  <a:pt x="153" y="402"/>
                </a:cubicBezTo>
                <a:cubicBezTo>
                  <a:pt x="153" y="402"/>
                  <a:pt x="153" y="402"/>
                  <a:pt x="153" y="402"/>
                </a:cubicBezTo>
                <a:cubicBezTo>
                  <a:pt x="153" y="402"/>
                  <a:pt x="153" y="402"/>
                  <a:pt x="153" y="402"/>
                </a:cubicBezTo>
                <a:cubicBezTo>
                  <a:pt x="152" y="402"/>
                  <a:pt x="152" y="402"/>
                  <a:pt x="152" y="402"/>
                </a:cubicBezTo>
                <a:cubicBezTo>
                  <a:pt x="152" y="402"/>
                  <a:pt x="152" y="402"/>
                  <a:pt x="152" y="402"/>
                </a:cubicBezTo>
                <a:cubicBezTo>
                  <a:pt x="95" y="401"/>
                  <a:pt x="42" y="380"/>
                  <a:pt x="0" y="346"/>
                </a:cubicBezTo>
                <a:moveTo>
                  <a:pt x="587" y="311"/>
                </a:moveTo>
                <a:cubicBezTo>
                  <a:pt x="612" y="343"/>
                  <a:pt x="627" y="382"/>
                  <a:pt x="628" y="425"/>
                </a:cubicBezTo>
                <a:cubicBezTo>
                  <a:pt x="628" y="425"/>
                  <a:pt x="628" y="425"/>
                  <a:pt x="628" y="425"/>
                </a:cubicBezTo>
                <a:cubicBezTo>
                  <a:pt x="628" y="425"/>
                  <a:pt x="628" y="425"/>
                  <a:pt x="628" y="425"/>
                </a:cubicBezTo>
                <a:cubicBezTo>
                  <a:pt x="628" y="425"/>
                  <a:pt x="628" y="425"/>
                  <a:pt x="628" y="426"/>
                </a:cubicBezTo>
                <a:cubicBezTo>
                  <a:pt x="628" y="426"/>
                  <a:pt x="628" y="426"/>
                  <a:pt x="628" y="426"/>
                </a:cubicBezTo>
                <a:cubicBezTo>
                  <a:pt x="628" y="426"/>
                  <a:pt x="628" y="426"/>
                  <a:pt x="628" y="426"/>
                </a:cubicBezTo>
                <a:cubicBezTo>
                  <a:pt x="628" y="426"/>
                  <a:pt x="628" y="426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7"/>
                  <a:pt x="628" y="427"/>
                </a:cubicBezTo>
                <a:cubicBezTo>
                  <a:pt x="628" y="427"/>
                  <a:pt x="628" y="428"/>
                  <a:pt x="628" y="428"/>
                </a:cubicBezTo>
                <a:cubicBezTo>
                  <a:pt x="628" y="428"/>
                  <a:pt x="628" y="428"/>
                  <a:pt x="628" y="428"/>
                </a:cubicBezTo>
                <a:cubicBezTo>
                  <a:pt x="628" y="428"/>
                  <a:pt x="628" y="428"/>
                  <a:pt x="628" y="428"/>
                </a:cubicBezTo>
                <a:cubicBezTo>
                  <a:pt x="628" y="428"/>
                  <a:pt x="628" y="428"/>
                  <a:pt x="628" y="428"/>
                </a:cubicBezTo>
                <a:cubicBezTo>
                  <a:pt x="628" y="428"/>
                  <a:pt x="628" y="428"/>
                  <a:pt x="628" y="428"/>
                </a:cubicBezTo>
                <a:cubicBezTo>
                  <a:pt x="628" y="428"/>
                  <a:pt x="628" y="428"/>
                  <a:pt x="628" y="428"/>
                </a:cubicBezTo>
                <a:cubicBezTo>
                  <a:pt x="628" y="428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29"/>
                  <a:pt x="628" y="429"/>
                  <a:pt x="628" y="429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0"/>
                  <a:pt x="628" y="430"/>
                  <a:pt x="628" y="430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1"/>
                  <a:pt x="628" y="431"/>
                  <a:pt x="628" y="431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2"/>
                  <a:pt x="628" y="432"/>
                </a:cubicBezTo>
                <a:cubicBezTo>
                  <a:pt x="628" y="432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33"/>
                  <a:pt x="628" y="433"/>
                  <a:pt x="628" y="433"/>
                </a:cubicBezTo>
                <a:cubicBezTo>
                  <a:pt x="628" y="457"/>
                  <a:pt x="624" y="480"/>
                  <a:pt x="615" y="502"/>
                </a:cubicBezTo>
                <a:cubicBezTo>
                  <a:pt x="617" y="501"/>
                  <a:pt x="619" y="501"/>
                  <a:pt x="621" y="500"/>
                </a:cubicBezTo>
                <a:cubicBezTo>
                  <a:pt x="621" y="500"/>
                  <a:pt x="621" y="500"/>
                  <a:pt x="621" y="500"/>
                </a:cubicBezTo>
                <a:cubicBezTo>
                  <a:pt x="621" y="500"/>
                  <a:pt x="621" y="500"/>
                  <a:pt x="621" y="500"/>
                </a:cubicBezTo>
                <a:cubicBezTo>
                  <a:pt x="621" y="500"/>
                  <a:pt x="621" y="500"/>
                  <a:pt x="621" y="500"/>
                </a:cubicBezTo>
                <a:cubicBezTo>
                  <a:pt x="621" y="500"/>
                  <a:pt x="621" y="500"/>
                  <a:pt x="621" y="500"/>
                </a:cubicBezTo>
                <a:cubicBezTo>
                  <a:pt x="621" y="500"/>
                  <a:pt x="622" y="500"/>
                  <a:pt x="622" y="500"/>
                </a:cubicBezTo>
                <a:cubicBezTo>
                  <a:pt x="622" y="500"/>
                  <a:pt x="622" y="500"/>
                  <a:pt x="622" y="500"/>
                </a:cubicBezTo>
                <a:cubicBezTo>
                  <a:pt x="630" y="498"/>
                  <a:pt x="638" y="497"/>
                  <a:pt x="646" y="497"/>
                </a:cubicBezTo>
                <a:cubicBezTo>
                  <a:pt x="646" y="497"/>
                  <a:pt x="646" y="497"/>
                  <a:pt x="646" y="497"/>
                </a:cubicBezTo>
                <a:cubicBezTo>
                  <a:pt x="646" y="497"/>
                  <a:pt x="646" y="497"/>
                  <a:pt x="646" y="497"/>
                </a:cubicBezTo>
                <a:cubicBezTo>
                  <a:pt x="646" y="497"/>
                  <a:pt x="646" y="497"/>
                  <a:pt x="646" y="497"/>
                </a:cubicBezTo>
                <a:cubicBezTo>
                  <a:pt x="647" y="497"/>
                  <a:pt x="648" y="497"/>
                  <a:pt x="649" y="497"/>
                </a:cubicBezTo>
                <a:cubicBezTo>
                  <a:pt x="649" y="497"/>
                  <a:pt x="649" y="497"/>
                  <a:pt x="649" y="497"/>
                </a:cubicBezTo>
                <a:cubicBezTo>
                  <a:pt x="649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0" y="497"/>
                  <a:pt x="650" y="497"/>
                </a:cubicBezTo>
                <a:cubicBezTo>
                  <a:pt x="650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1" y="497"/>
                  <a:pt x="651" y="497"/>
                </a:cubicBezTo>
                <a:cubicBezTo>
                  <a:pt x="651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2" y="497"/>
                </a:cubicBezTo>
                <a:cubicBezTo>
                  <a:pt x="652" y="497"/>
                  <a:pt x="652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3" y="497"/>
                </a:cubicBezTo>
                <a:cubicBezTo>
                  <a:pt x="653" y="497"/>
                  <a:pt x="653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4" y="497"/>
                </a:cubicBezTo>
                <a:cubicBezTo>
                  <a:pt x="654" y="497"/>
                  <a:pt x="654" y="497"/>
                  <a:pt x="655" y="497"/>
                </a:cubicBezTo>
                <a:cubicBezTo>
                  <a:pt x="655" y="497"/>
                  <a:pt x="655" y="497"/>
                  <a:pt x="655" y="497"/>
                </a:cubicBezTo>
                <a:cubicBezTo>
                  <a:pt x="657" y="497"/>
                  <a:pt x="660" y="497"/>
                  <a:pt x="662" y="497"/>
                </a:cubicBezTo>
                <a:cubicBezTo>
                  <a:pt x="663" y="487"/>
                  <a:pt x="664" y="477"/>
                  <a:pt x="664" y="467"/>
                </a:cubicBezTo>
                <a:cubicBezTo>
                  <a:pt x="664" y="403"/>
                  <a:pt x="634" y="347"/>
                  <a:pt x="587" y="311"/>
                </a:cubicBezTo>
                <a:moveTo>
                  <a:pt x="347" y="0"/>
                </a:moveTo>
                <a:cubicBezTo>
                  <a:pt x="381" y="42"/>
                  <a:pt x="401" y="94"/>
                  <a:pt x="402" y="152"/>
                </a:cubicBezTo>
                <a:cubicBezTo>
                  <a:pt x="402" y="152"/>
                  <a:pt x="402" y="152"/>
                  <a:pt x="402" y="152"/>
                </a:cubicBezTo>
                <a:cubicBezTo>
                  <a:pt x="402" y="152"/>
                  <a:pt x="402" y="152"/>
                  <a:pt x="402" y="152"/>
                </a:cubicBezTo>
                <a:cubicBezTo>
                  <a:pt x="402" y="152"/>
                  <a:pt x="402" y="152"/>
                  <a:pt x="402" y="152"/>
                </a:cubicBezTo>
                <a:cubicBezTo>
                  <a:pt x="402" y="152"/>
                  <a:pt x="402" y="152"/>
                  <a:pt x="402" y="153"/>
                </a:cubicBezTo>
                <a:cubicBezTo>
                  <a:pt x="402" y="153"/>
                  <a:pt x="402" y="153"/>
                  <a:pt x="402" y="153"/>
                </a:cubicBezTo>
                <a:cubicBezTo>
                  <a:pt x="402" y="153"/>
                  <a:pt x="402" y="153"/>
                  <a:pt x="402" y="153"/>
                </a:cubicBezTo>
                <a:cubicBezTo>
                  <a:pt x="402" y="153"/>
                  <a:pt x="402" y="153"/>
                  <a:pt x="402" y="153"/>
                </a:cubicBezTo>
                <a:cubicBezTo>
                  <a:pt x="402" y="153"/>
                  <a:pt x="402" y="153"/>
                  <a:pt x="402" y="154"/>
                </a:cubicBezTo>
                <a:cubicBezTo>
                  <a:pt x="402" y="154"/>
                  <a:pt x="402" y="154"/>
                  <a:pt x="402" y="154"/>
                </a:cubicBezTo>
                <a:cubicBezTo>
                  <a:pt x="402" y="154"/>
                  <a:pt x="402" y="154"/>
                  <a:pt x="402" y="154"/>
                </a:cubicBezTo>
                <a:cubicBezTo>
                  <a:pt x="402" y="154"/>
                  <a:pt x="402" y="154"/>
                  <a:pt x="402" y="154"/>
                </a:cubicBezTo>
                <a:cubicBezTo>
                  <a:pt x="402" y="154"/>
                  <a:pt x="402" y="154"/>
                  <a:pt x="402" y="154"/>
                </a:cubicBezTo>
                <a:cubicBezTo>
                  <a:pt x="402" y="154"/>
                  <a:pt x="402" y="154"/>
                  <a:pt x="402" y="154"/>
                </a:cubicBezTo>
                <a:cubicBezTo>
                  <a:pt x="402" y="154"/>
                  <a:pt x="402" y="154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5"/>
                  <a:pt x="402" y="155"/>
                </a:cubicBezTo>
                <a:cubicBezTo>
                  <a:pt x="402" y="155"/>
                  <a:pt x="402" y="156"/>
                  <a:pt x="402" y="156"/>
                </a:cubicBezTo>
                <a:cubicBezTo>
                  <a:pt x="402" y="156"/>
                  <a:pt x="402" y="156"/>
                  <a:pt x="402" y="156"/>
                </a:cubicBezTo>
                <a:cubicBezTo>
                  <a:pt x="402" y="156"/>
                  <a:pt x="402" y="156"/>
                  <a:pt x="402" y="156"/>
                </a:cubicBezTo>
                <a:cubicBezTo>
                  <a:pt x="402" y="156"/>
                  <a:pt x="402" y="156"/>
                  <a:pt x="402" y="156"/>
                </a:cubicBezTo>
                <a:cubicBezTo>
                  <a:pt x="402" y="156"/>
                  <a:pt x="402" y="156"/>
                  <a:pt x="402" y="156"/>
                </a:cubicBezTo>
                <a:cubicBezTo>
                  <a:pt x="402" y="156"/>
                  <a:pt x="402" y="156"/>
                  <a:pt x="402" y="156"/>
                </a:cubicBezTo>
                <a:cubicBezTo>
                  <a:pt x="402" y="156"/>
                  <a:pt x="402" y="157"/>
                  <a:pt x="402" y="157"/>
                </a:cubicBezTo>
                <a:cubicBezTo>
                  <a:pt x="402" y="157"/>
                  <a:pt x="402" y="157"/>
                  <a:pt x="402" y="157"/>
                </a:cubicBezTo>
                <a:cubicBezTo>
                  <a:pt x="402" y="157"/>
                  <a:pt x="402" y="157"/>
                  <a:pt x="402" y="157"/>
                </a:cubicBezTo>
                <a:cubicBezTo>
                  <a:pt x="402" y="157"/>
                  <a:pt x="402" y="157"/>
                  <a:pt x="402" y="157"/>
                </a:cubicBezTo>
                <a:cubicBezTo>
                  <a:pt x="402" y="157"/>
                  <a:pt x="402" y="157"/>
                  <a:pt x="402" y="157"/>
                </a:cubicBezTo>
                <a:cubicBezTo>
                  <a:pt x="402" y="157"/>
                  <a:pt x="402" y="157"/>
                  <a:pt x="402" y="157"/>
                </a:cubicBezTo>
                <a:cubicBezTo>
                  <a:pt x="402" y="186"/>
                  <a:pt x="397" y="213"/>
                  <a:pt x="387" y="239"/>
                </a:cubicBezTo>
                <a:cubicBezTo>
                  <a:pt x="401" y="236"/>
                  <a:pt x="415" y="234"/>
                  <a:pt x="429" y="234"/>
                </a:cubicBezTo>
                <a:cubicBezTo>
                  <a:pt x="429" y="234"/>
                  <a:pt x="429" y="234"/>
                  <a:pt x="429" y="234"/>
                </a:cubicBezTo>
                <a:cubicBezTo>
                  <a:pt x="429" y="234"/>
                  <a:pt x="429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0" y="234"/>
                  <a:pt x="430" y="234"/>
                  <a:pt x="430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2" y="234"/>
                  <a:pt x="433" y="234"/>
                  <a:pt x="434" y="234"/>
                </a:cubicBezTo>
                <a:cubicBezTo>
                  <a:pt x="436" y="220"/>
                  <a:pt x="438" y="206"/>
                  <a:pt x="438" y="191"/>
                </a:cubicBezTo>
                <a:cubicBezTo>
                  <a:pt x="438" y="114"/>
                  <a:pt x="402" y="45"/>
                  <a:pt x="347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9" name="Oval 34">
            <a:extLst>
              <a:ext uri="{FF2B5EF4-FFF2-40B4-BE49-F238E27FC236}">
                <a16:creationId xmlns:a16="http://schemas.microsoft.com/office/drawing/2014/main" id="{86678689-E496-4F26-B7FD-93D8E7CD7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5238" y="4702176"/>
            <a:ext cx="1228725" cy="123031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0" name="Oval 35">
            <a:extLst>
              <a:ext uri="{FF2B5EF4-FFF2-40B4-BE49-F238E27FC236}">
                <a16:creationId xmlns:a16="http://schemas.microsoft.com/office/drawing/2014/main" id="{A76D8654-BD85-4AEC-BC8E-D996EA592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3026" y="4779963"/>
            <a:ext cx="1073150" cy="1074738"/>
          </a:xfrm>
          <a:prstGeom prst="ellipse">
            <a:avLst/>
          </a:prstGeom>
          <a:solidFill>
            <a:srgbClr val="E5E8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1" name="Oval 36">
            <a:extLst>
              <a:ext uri="{FF2B5EF4-FFF2-40B4-BE49-F238E27FC236}">
                <a16:creationId xmlns:a16="http://schemas.microsoft.com/office/drawing/2014/main" id="{F44836DA-B9BF-413B-8AD7-275FF29C3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6051" y="4854576"/>
            <a:ext cx="927100" cy="922338"/>
          </a:xfrm>
          <a:prstGeom prst="ellipse">
            <a:avLst/>
          </a:prstGeom>
          <a:solidFill>
            <a:srgbClr val="4BAE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2" name="Oval 37">
            <a:extLst>
              <a:ext uri="{FF2B5EF4-FFF2-40B4-BE49-F238E27FC236}">
                <a16:creationId xmlns:a16="http://schemas.microsoft.com/office/drawing/2014/main" id="{406924E8-78CE-46D3-803D-7CD18A65A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64476" y="3683001"/>
            <a:ext cx="1536700" cy="153670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3" name="Oval 38">
            <a:extLst>
              <a:ext uri="{FF2B5EF4-FFF2-40B4-BE49-F238E27FC236}">
                <a16:creationId xmlns:a16="http://schemas.microsoft.com/office/drawing/2014/main" id="{330F1044-3DB8-444B-950F-719568865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2901" y="3779838"/>
            <a:ext cx="1341438" cy="1343025"/>
          </a:xfrm>
          <a:prstGeom prst="ellipse">
            <a:avLst/>
          </a:prstGeom>
          <a:solidFill>
            <a:srgbClr val="E5E8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4" name="Oval 39">
            <a:extLst>
              <a:ext uri="{FF2B5EF4-FFF2-40B4-BE49-F238E27FC236}">
                <a16:creationId xmlns:a16="http://schemas.microsoft.com/office/drawing/2014/main" id="{3AC6EC7A-9905-4547-96FC-1658356448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976" y="3873501"/>
            <a:ext cx="1157288" cy="1150938"/>
          </a:xfrm>
          <a:prstGeom prst="ellipse">
            <a:avLst/>
          </a:prstGeom>
          <a:solidFill>
            <a:srgbClr val="45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" name="Oval 40">
            <a:extLst>
              <a:ext uri="{FF2B5EF4-FFF2-40B4-BE49-F238E27FC236}">
                <a16:creationId xmlns:a16="http://schemas.microsoft.com/office/drawing/2014/main" id="{8CE4D28B-7326-46B0-988C-0AB915F87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1776" y="2398713"/>
            <a:ext cx="1922463" cy="192246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6" name="Oval 41">
            <a:extLst>
              <a:ext uri="{FF2B5EF4-FFF2-40B4-BE49-F238E27FC236}">
                <a16:creationId xmlns:a16="http://schemas.microsoft.com/office/drawing/2014/main" id="{941037E1-DD5D-48C6-9D08-7EE837490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8776" y="2520951"/>
            <a:ext cx="1673225" cy="1679575"/>
          </a:xfrm>
          <a:prstGeom prst="ellipse">
            <a:avLst/>
          </a:prstGeom>
          <a:solidFill>
            <a:srgbClr val="E5E8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7" name="Oval 42">
            <a:extLst>
              <a:ext uri="{FF2B5EF4-FFF2-40B4-BE49-F238E27FC236}">
                <a16:creationId xmlns:a16="http://schemas.microsoft.com/office/drawing/2014/main" id="{ED41D66F-AC4D-4961-8525-963C349AC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6251" y="2638426"/>
            <a:ext cx="1438275" cy="1444625"/>
          </a:xfrm>
          <a:prstGeom prst="ellipse">
            <a:avLst/>
          </a:prstGeom>
          <a:solidFill>
            <a:srgbClr val="F3698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8" name="Oval 43">
            <a:extLst>
              <a:ext uri="{FF2B5EF4-FFF2-40B4-BE49-F238E27FC236}">
                <a16:creationId xmlns:a16="http://schemas.microsoft.com/office/drawing/2014/main" id="{B7C28C47-5555-49B5-B4A3-175358672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5863" y="812801"/>
            <a:ext cx="2405063" cy="24066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9" name="Oval 44">
            <a:extLst>
              <a:ext uri="{FF2B5EF4-FFF2-40B4-BE49-F238E27FC236}">
                <a16:creationId xmlns:a16="http://schemas.microsoft.com/office/drawing/2014/main" id="{55C87DC9-6E33-4068-A315-8EE23F24D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1438" y="968376"/>
            <a:ext cx="2093913" cy="2093913"/>
          </a:xfrm>
          <a:prstGeom prst="ellipse">
            <a:avLst/>
          </a:prstGeom>
          <a:solidFill>
            <a:srgbClr val="E5E8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0" name="Oval 45">
            <a:extLst>
              <a:ext uri="{FF2B5EF4-FFF2-40B4-BE49-F238E27FC236}">
                <a16:creationId xmlns:a16="http://schemas.microsoft.com/office/drawing/2014/main" id="{8553E07E-6909-47D1-B4D8-FA490F3072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9076" y="1116013"/>
            <a:ext cx="1800225" cy="1800225"/>
          </a:xfrm>
          <a:prstGeom prst="ellipse">
            <a:avLst/>
          </a:prstGeom>
          <a:solidFill>
            <a:srgbClr val="F6AC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1" name="Freeform 46">
            <a:extLst>
              <a:ext uri="{FF2B5EF4-FFF2-40B4-BE49-F238E27FC236}">
                <a16:creationId xmlns:a16="http://schemas.microsoft.com/office/drawing/2014/main" id="{63749E00-F349-4DE0-87BB-A4F7715AA241}"/>
              </a:ext>
            </a:extLst>
          </p:cNvPr>
          <p:cNvSpPr>
            <a:spLocks noEditPoints="1"/>
          </p:cNvSpPr>
          <p:nvPr/>
        </p:nvSpPr>
        <p:spPr bwMode="auto">
          <a:xfrm>
            <a:off x="5299076" y="1116013"/>
            <a:ext cx="946150" cy="941388"/>
          </a:xfrm>
          <a:custGeom>
            <a:avLst/>
            <a:gdLst>
              <a:gd name="T0" fmla="*/ 0 w 194"/>
              <a:gd name="T1" fmla="*/ 193 h 193"/>
              <a:gd name="T2" fmla="*/ 0 w 194"/>
              <a:gd name="T3" fmla="*/ 193 h 193"/>
              <a:gd name="T4" fmla="*/ 0 w 194"/>
              <a:gd name="T5" fmla="*/ 192 h 193"/>
              <a:gd name="T6" fmla="*/ 0 w 194"/>
              <a:gd name="T7" fmla="*/ 192 h 193"/>
              <a:gd name="T8" fmla="*/ 0 w 194"/>
              <a:gd name="T9" fmla="*/ 192 h 193"/>
              <a:gd name="T10" fmla="*/ 0 w 194"/>
              <a:gd name="T11" fmla="*/ 192 h 193"/>
              <a:gd name="T12" fmla="*/ 0 w 194"/>
              <a:gd name="T13" fmla="*/ 191 h 193"/>
              <a:gd name="T14" fmla="*/ 0 w 194"/>
              <a:gd name="T15" fmla="*/ 191 h 193"/>
              <a:gd name="T16" fmla="*/ 0 w 194"/>
              <a:gd name="T17" fmla="*/ 191 h 193"/>
              <a:gd name="T18" fmla="*/ 0 w 194"/>
              <a:gd name="T19" fmla="*/ 190 h 193"/>
              <a:gd name="T20" fmla="*/ 0 w 194"/>
              <a:gd name="T21" fmla="*/ 190 h 193"/>
              <a:gd name="T22" fmla="*/ 0 w 194"/>
              <a:gd name="T23" fmla="*/ 190 h 193"/>
              <a:gd name="T24" fmla="*/ 0 w 194"/>
              <a:gd name="T25" fmla="*/ 189 h 193"/>
              <a:gd name="T26" fmla="*/ 0 w 194"/>
              <a:gd name="T27" fmla="*/ 189 h 193"/>
              <a:gd name="T28" fmla="*/ 0 w 194"/>
              <a:gd name="T29" fmla="*/ 189 h 193"/>
              <a:gd name="T30" fmla="*/ 0 w 194"/>
              <a:gd name="T31" fmla="*/ 189 h 193"/>
              <a:gd name="T32" fmla="*/ 0 w 194"/>
              <a:gd name="T33" fmla="*/ 188 h 193"/>
              <a:gd name="T34" fmla="*/ 0 w 194"/>
              <a:gd name="T35" fmla="*/ 188 h 193"/>
              <a:gd name="T36" fmla="*/ 0 w 194"/>
              <a:gd name="T37" fmla="*/ 188 h 193"/>
              <a:gd name="T38" fmla="*/ 0 w 194"/>
              <a:gd name="T39" fmla="*/ 187 h 193"/>
              <a:gd name="T40" fmla="*/ 0 w 194"/>
              <a:gd name="T41" fmla="*/ 187 h 193"/>
              <a:gd name="T42" fmla="*/ 0 w 194"/>
              <a:gd name="T43" fmla="*/ 187 h 193"/>
              <a:gd name="T44" fmla="*/ 0 w 194"/>
              <a:gd name="T45" fmla="*/ 186 h 193"/>
              <a:gd name="T46" fmla="*/ 0 w 194"/>
              <a:gd name="T47" fmla="*/ 186 h 193"/>
              <a:gd name="T48" fmla="*/ 0 w 194"/>
              <a:gd name="T49" fmla="*/ 186 h 193"/>
              <a:gd name="T50" fmla="*/ 0 w 194"/>
              <a:gd name="T51" fmla="*/ 186 h 193"/>
              <a:gd name="T52" fmla="*/ 0 w 194"/>
              <a:gd name="T53" fmla="*/ 185 h 193"/>
              <a:gd name="T54" fmla="*/ 0 w 194"/>
              <a:gd name="T55" fmla="*/ 185 h 193"/>
              <a:gd name="T56" fmla="*/ 0 w 194"/>
              <a:gd name="T57" fmla="*/ 184 h 193"/>
              <a:gd name="T58" fmla="*/ 194 w 194"/>
              <a:gd name="T59" fmla="*/ 0 h 193"/>
              <a:gd name="T60" fmla="*/ 193 w 194"/>
              <a:gd name="T61" fmla="*/ 0 h 193"/>
              <a:gd name="T62" fmla="*/ 193 w 194"/>
              <a:gd name="T63" fmla="*/ 0 h 193"/>
              <a:gd name="T64" fmla="*/ 192 w 194"/>
              <a:gd name="T65" fmla="*/ 0 h 193"/>
              <a:gd name="T66" fmla="*/ 192 w 194"/>
              <a:gd name="T67" fmla="*/ 0 h 193"/>
              <a:gd name="T68" fmla="*/ 192 w 194"/>
              <a:gd name="T69" fmla="*/ 0 h 193"/>
              <a:gd name="T70" fmla="*/ 191 w 194"/>
              <a:gd name="T71" fmla="*/ 0 h 193"/>
              <a:gd name="T72" fmla="*/ 191 w 194"/>
              <a:gd name="T73" fmla="*/ 0 h 193"/>
              <a:gd name="T74" fmla="*/ 191 w 194"/>
              <a:gd name="T75" fmla="*/ 0 h 193"/>
              <a:gd name="T76" fmla="*/ 190 w 194"/>
              <a:gd name="T77" fmla="*/ 0 h 193"/>
              <a:gd name="T78" fmla="*/ 190 w 194"/>
              <a:gd name="T79" fmla="*/ 0 h 193"/>
              <a:gd name="T80" fmla="*/ 190 w 194"/>
              <a:gd name="T81" fmla="*/ 0 h 193"/>
              <a:gd name="T82" fmla="*/ 189 w 194"/>
              <a:gd name="T83" fmla="*/ 0 h 193"/>
              <a:gd name="T84" fmla="*/ 189 w 194"/>
              <a:gd name="T85" fmla="*/ 0 h 193"/>
              <a:gd name="T86" fmla="*/ 189 w 194"/>
              <a:gd name="T87" fmla="*/ 0 h 193"/>
              <a:gd name="T88" fmla="*/ 189 w 194"/>
              <a:gd name="T89" fmla="*/ 0 h 193"/>
              <a:gd name="T90" fmla="*/ 188 w 194"/>
              <a:gd name="T91" fmla="*/ 0 h 193"/>
              <a:gd name="T92" fmla="*/ 188 w 194"/>
              <a:gd name="T93" fmla="*/ 0 h 193"/>
              <a:gd name="T94" fmla="*/ 188 w 194"/>
              <a:gd name="T95" fmla="*/ 0 h 193"/>
              <a:gd name="T96" fmla="*/ 187 w 194"/>
              <a:gd name="T97" fmla="*/ 0 h 193"/>
              <a:gd name="T98" fmla="*/ 187 w 194"/>
              <a:gd name="T99" fmla="*/ 0 h 193"/>
              <a:gd name="T100" fmla="*/ 187 w 194"/>
              <a:gd name="T101" fmla="*/ 0 h 193"/>
              <a:gd name="T102" fmla="*/ 186 w 194"/>
              <a:gd name="T103" fmla="*/ 0 h 193"/>
              <a:gd name="T104" fmla="*/ 186 w 194"/>
              <a:gd name="T105" fmla="*/ 0 h 193"/>
              <a:gd name="T106" fmla="*/ 186 w 194"/>
              <a:gd name="T107" fmla="*/ 0 h 193"/>
              <a:gd name="T108" fmla="*/ 185 w 194"/>
              <a:gd name="T109" fmla="*/ 0 h 193"/>
              <a:gd name="T110" fmla="*/ 185 w 194"/>
              <a:gd name="T111" fmla="*/ 0 h 193"/>
              <a:gd name="T112" fmla="*/ 0 w 194"/>
              <a:gd name="T113" fmla="*/ 184 h 193"/>
              <a:gd name="T114" fmla="*/ 185 w 194"/>
              <a:gd name="T115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4" h="193">
                <a:moveTo>
                  <a:pt x="0" y="193"/>
                </a:moveTo>
                <a:cubicBezTo>
                  <a:pt x="0" y="193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moveTo>
                  <a:pt x="0" y="193"/>
                </a:moveTo>
                <a:cubicBezTo>
                  <a:pt x="0" y="193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moveTo>
                  <a:pt x="0" y="192"/>
                </a:moveTo>
                <a:cubicBezTo>
                  <a:pt x="0" y="192"/>
                  <a:pt x="0" y="193"/>
                  <a:pt x="0" y="193"/>
                </a:cubicBezTo>
                <a:cubicBezTo>
                  <a:pt x="0" y="193"/>
                  <a:pt x="0" y="192"/>
                  <a:pt x="0" y="192"/>
                </a:cubicBezTo>
                <a:moveTo>
                  <a:pt x="0" y="192"/>
                </a:move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moveTo>
                  <a:pt x="0" y="192"/>
                </a:move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moveTo>
                  <a:pt x="0" y="192"/>
                </a:move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moveTo>
                  <a:pt x="0" y="191"/>
                </a:move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moveTo>
                  <a:pt x="0" y="191"/>
                </a:move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moveTo>
                  <a:pt x="0" y="191"/>
                </a:move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moveTo>
                  <a:pt x="0" y="190"/>
                </a:move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moveTo>
                  <a:pt x="0" y="190"/>
                </a:move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moveTo>
                  <a:pt x="0" y="190"/>
                </a:move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moveTo>
                  <a:pt x="0" y="189"/>
                </a:moveTo>
                <a:cubicBezTo>
                  <a:pt x="0" y="189"/>
                  <a:pt x="0" y="190"/>
                  <a:pt x="0" y="190"/>
                </a:cubicBezTo>
                <a:cubicBezTo>
                  <a:pt x="0" y="190"/>
                  <a:pt x="0" y="189"/>
                  <a:pt x="0" y="189"/>
                </a:cubicBezTo>
                <a:moveTo>
                  <a:pt x="0" y="189"/>
                </a:move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moveTo>
                  <a:pt x="0" y="189"/>
                </a:move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moveTo>
                  <a:pt x="0" y="189"/>
                </a:move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moveTo>
                  <a:pt x="0" y="188"/>
                </a:move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moveTo>
                  <a:pt x="0" y="188"/>
                </a:move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moveTo>
                  <a:pt x="0" y="188"/>
                </a:move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moveTo>
                  <a:pt x="0" y="187"/>
                </a:moveTo>
                <a:cubicBezTo>
                  <a:pt x="0" y="187"/>
                  <a:pt x="0" y="187"/>
                  <a:pt x="0" y="188"/>
                </a:cubicBezTo>
                <a:cubicBezTo>
                  <a:pt x="0" y="187"/>
                  <a:pt x="0" y="187"/>
                  <a:pt x="0" y="187"/>
                </a:cubicBezTo>
                <a:moveTo>
                  <a:pt x="0" y="187"/>
                </a:move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moveTo>
                  <a:pt x="0" y="187"/>
                </a:move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moveTo>
                  <a:pt x="0" y="186"/>
                </a:moveTo>
                <a:cubicBezTo>
                  <a:pt x="0" y="186"/>
                  <a:pt x="0" y="187"/>
                  <a:pt x="0" y="187"/>
                </a:cubicBezTo>
                <a:cubicBezTo>
                  <a:pt x="0" y="187"/>
                  <a:pt x="0" y="187"/>
                  <a:pt x="0" y="186"/>
                </a:cubicBezTo>
                <a:moveTo>
                  <a:pt x="0" y="186"/>
                </a:move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moveTo>
                  <a:pt x="0" y="186"/>
                </a:move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moveTo>
                  <a:pt x="0" y="186"/>
                </a:move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moveTo>
                  <a:pt x="0" y="185"/>
                </a:move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5"/>
                </a:cubicBezTo>
                <a:moveTo>
                  <a:pt x="0" y="185"/>
                </a:move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5"/>
                </a:cubicBezTo>
                <a:moveTo>
                  <a:pt x="0" y="184"/>
                </a:moveTo>
                <a:cubicBezTo>
                  <a:pt x="0" y="184"/>
                  <a:pt x="0" y="184"/>
                  <a:pt x="0" y="185"/>
                </a:cubicBezTo>
                <a:cubicBezTo>
                  <a:pt x="0" y="184"/>
                  <a:pt x="0" y="184"/>
                  <a:pt x="0" y="184"/>
                </a:cubicBezTo>
                <a:moveTo>
                  <a:pt x="194" y="0"/>
                </a:moveTo>
                <a:cubicBezTo>
                  <a:pt x="194" y="0"/>
                  <a:pt x="194" y="0"/>
                  <a:pt x="194" y="0"/>
                </a:cubicBezTo>
                <a:cubicBezTo>
                  <a:pt x="194" y="0"/>
                  <a:pt x="194" y="0"/>
                  <a:pt x="194" y="0"/>
                </a:cubicBezTo>
                <a:moveTo>
                  <a:pt x="193" y="0"/>
                </a:moveTo>
                <a:cubicBezTo>
                  <a:pt x="193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moveTo>
                  <a:pt x="193" y="0"/>
                </a:moveTo>
                <a:cubicBezTo>
                  <a:pt x="193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moveTo>
                  <a:pt x="192" y="0"/>
                </a:moveTo>
                <a:cubicBezTo>
                  <a:pt x="192" y="0"/>
                  <a:pt x="192" y="0"/>
                  <a:pt x="193" y="0"/>
                </a:cubicBezTo>
                <a:cubicBezTo>
                  <a:pt x="193" y="0"/>
                  <a:pt x="192" y="0"/>
                  <a:pt x="192" y="0"/>
                </a:cubicBezTo>
                <a:moveTo>
                  <a:pt x="192" y="0"/>
                </a:move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moveTo>
                  <a:pt x="192" y="0"/>
                </a:move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moveTo>
                  <a:pt x="191" y="0"/>
                </a:move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moveTo>
                  <a:pt x="191" y="0"/>
                </a:move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moveTo>
                  <a:pt x="191" y="0"/>
                </a:move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moveTo>
                  <a:pt x="190" y="0"/>
                </a:moveTo>
                <a:cubicBezTo>
                  <a:pt x="190" y="0"/>
                  <a:pt x="190" y="0"/>
                  <a:pt x="191" y="0"/>
                </a:cubicBezTo>
                <a:cubicBezTo>
                  <a:pt x="190" y="0"/>
                  <a:pt x="190" y="0"/>
                  <a:pt x="190" y="0"/>
                </a:cubicBezTo>
                <a:moveTo>
                  <a:pt x="190" y="0"/>
                </a:move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moveTo>
                  <a:pt x="190" y="0"/>
                </a:move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moveTo>
                  <a:pt x="189" y="0"/>
                </a:move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89" y="0"/>
                </a:cubicBezTo>
                <a:moveTo>
                  <a:pt x="189" y="0"/>
                </a:move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moveTo>
                  <a:pt x="189" y="0"/>
                </a:move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moveTo>
                  <a:pt x="189" y="0"/>
                </a:move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moveTo>
                  <a:pt x="188" y="0"/>
                </a:move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moveTo>
                  <a:pt x="188" y="0"/>
                </a:move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moveTo>
                  <a:pt x="188" y="0"/>
                </a:move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moveTo>
                  <a:pt x="187" y="0"/>
                </a:moveTo>
                <a:cubicBezTo>
                  <a:pt x="187" y="0"/>
                  <a:pt x="187" y="0"/>
                  <a:pt x="188" y="0"/>
                </a:cubicBezTo>
                <a:cubicBezTo>
                  <a:pt x="187" y="0"/>
                  <a:pt x="187" y="0"/>
                  <a:pt x="187" y="0"/>
                </a:cubicBezTo>
                <a:moveTo>
                  <a:pt x="187" y="0"/>
                </a:move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moveTo>
                  <a:pt x="187" y="0"/>
                </a:move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moveTo>
                  <a:pt x="186" y="0"/>
                </a:move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6" y="0"/>
                </a:cubicBezTo>
                <a:moveTo>
                  <a:pt x="186" y="0"/>
                </a:move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moveTo>
                  <a:pt x="186" y="0"/>
                </a:move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moveTo>
                  <a:pt x="185" y="0"/>
                </a:moveTo>
                <a:cubicBezTo>
                  <a:pt x="185" y="0"/>
                  <a:pt x="186" y="0"/>
                  <a:pt x="186" y="0"/>
                </a:cubicBezTo>
                <a:cubicBezTo>
                  <a:pt x="186" y="0"/>
                  <a:pt x="185" y="0"/>
                  <a:pt x="185" y="0"/>
                </a:cubicBezTo>
                <a:moveTo>
                  <a:pt x="185" y="0"/>
                </a:moveTo>
                <a:cubicBezTo>
                  <a:pt x="185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  <a:moveTo>
                  <a:pt x="185" y="0"/>
                </a:moveTo>
                <a:cubicBezTo>
                  <a:pt x="83" y="0"/>
                  <a:pt x="0" y="82"/>
                  <a:pt x="0" y="184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82"/>
                  <a:pt x="83" y="0"/>
                  <a:pt x="185" y="0"/>
                </a:cubicBezTo>
                <a:cubicBezTo>
                  <a:pt x="185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2" name="Freeform 47">
            <a:extLst>
              <a:ext uri="{FF2B5EF4-FFF2-40B4-BE49-F238E27FC236}">
                <a16:creationId xmlns:a16="http://schemas.microsoft.com/office/drawing/2014/main" id="{ECDD1774-6585-43F5-B135-568E78A008C3}"/>
              </a:ext>
            </a:extLst>
          </p:cNvPr>
          <p:cNvSpPr>
            <a:spLocks/>
          </p:cNvSpPr>
          <p:nvPr/>
        </p:nvSpPr>
        <p:spPr bwMode="auto">
          <a:xfrm>
            <a:off x="5299076" y="1116013"/>
            <a:ext cx="1628775" cy="1624013"/>
          </a:xfrm>
          <a:custGeom>
            <a:avLst/>
            <a:gdLst>
              <a:gd name="T0" fmla="*/ 0 w 334"/>
              <a:gd name="T1" fmla="*/ 184 h 333"/>
              <a:gd name="T2" fmla="*/ 0 w 334"/>
              <a:gd name="T3" fmla="*/ 185 h 333"/>
              <a:gd name="T4" fmla="*/ 0 w 334"/>
              <a:gd name="T5" fmla="*/ 185 h 333"/>
              <a:gd name="T6" fmla="*/ 0 w 334"/>
              <a:gd name="T7" fmla="*/ 185 h 333"/>
              <a:gd name="T8" fmla="*/ 0 w 334"/>
              <a:gd name="T9" fmla="*/ 186 h 333"/>
              <a:gd name="T10" fmla="*/ 0 w 334"/>
              <a:gd name="T11" fmla="*/ 186 h 333"/>
              <a:gd name="T12" fmla="*/ 0 w 334"/>
              <a:gd name="T13" fmla="*/ 186 h 333"/>
              <a:gd name="T14" fmla="*/ 0 w 334"/>
              <a:gd name="T15" fmla="*/ 187 h 333"/>
              <a:gd name="T16" fmla="*/ 0 w 334"/>
              <a:gd name="T17" fmla="*/ 187 h 333"/>
              <a:gd name="T18" fmla="*/ 0 w 334"/>
              <a:gd name="T19" fmla="*/ 187 h 333"/>
              <a:gd name="T20" fmla="*/ 0 w 334"/>
              <a:gd name="T21" fmla="*/ 188 h 333"/>
              <a:gd name="T22" fmla="*/ 0 w 334"/>
              <a:gd name="T23" fmla="*/ 188 h 333"/>
              <a:gd name="T24" fmla="*/ 0 w 334"/>
              <a:gd name="T25" fmla="*/ 188 h 333"/>
              <a:gd name="T26" fmla="*/ 0 w 334"/>
              <a:gd name="T27" fmla="*/ 188 h 333"/>
              <a:gd name="T28" fmla="*/ 0 w 334"/>
              <a:gd name="T29" fmla="*/ 189 h 333"/>
              <a:gd name="T30" fmla="*/ 0 w 334"/>
              <a:gd name="T31" fmla="*/ 189 h 333"/>
              <a:gd name="T32" fmla="*/ 0 w 334"/>
              <a:gd name="T33" fmla="*/ 189 h 333"/>
              <a:gd name="T34" fmla="*/ 0 w 334"/>
              <a:gd name="T35" fmla="*/ 190 h 333"/>
              <a:gd name="T36" fmla="*/ 0 w 334"/>
              <a:gd name="T37" fmla="*/ 190 h 333"/>
              <a:gd name="T38" fmla="*/ 0 w 334"/>
              <a:gd name="T39" fmla="*/ 190 h 333"/>
              <a:gd name="T40" fmla="*/ 0 w 334"/>
              <a:gd name="T41" fmla="*/ 190 h 333"/>
              <a:gd name="T42" fmla="*/ 0 w 334"/>
              <a:gd name="T43" fmla="*/ 191 h 333"/>
              <a:gd name="T44" fmla="*/ 0 w 334"/>
              <a:gd name="T45" fmla="*/ 191 h 333"/>
              <a:gd name="T46" fmla="*/ 0 w 334"/>
              <a:gd name="T47" fmla="*/ 191 h 333"/>
              <a:gd name="T48" fmla="*/ 0 w 334"/>
              <a:gd name="T49" fmla="*/ 192 h 333"/>
              <a:gd name="T50" fmla="*/ 0 w 334"/>
              <a:gd name="T51" fmla="*/ 192 h 333"/>
              <a:gd name="T52" fmla="*/ 0 w 334"/>
              <a:gd name="T53" fmla="*/ 192 h 333"/>
              <a:gd name="T54" fmla="*/ 0 w 334"/>
              <a:gd name="T55" fmla="*/ 193 h 333"/>
              <a:gd name="T56" fmla="*/ 0 w 334"/>
              <a:gd name="T57" fmla="*/ 193 h 333"/>
              <a:gd name="T58" fmla="*/ 0 w 334"/>
              <a:gd name="T59" fmla="*/ 193 h 333"/>
              <a:gd name="T60" fmla="*/ 40 w 334"/>
              <a:gd name="T61" fmla="*/ 224 h 333"/>
              <a:gd name="T62" fmla="*/ 334 w 334"/>
              <a:gd name="T63" fmla="*/ 75 h 333"/>
              <a:gd name="T64" fmla="*/ 194 w 334"/>
              <a:gd name="T65" fmla="*/ 0 h 333"/>
              <a:gd name="T66" fmla="*/ 193 w 334"/>
              <a:gd name="T67" fmla="*/ 0 h 333"/>
              <a:gd name="T68" fmla="*/ 193 w 334"/>
              <a:gd name="T69" fmla="*/ 0 h 333"/>
              <a:gd name="T70" fmla="*/ 192 w 334"/>
              <a:gd name="T71" fmla="*/ 0 h 333"/>
              <a:gd name="T72" fmla="*/ 192 w 334"/>
              <a:gd name="T73" fmla="*/ 0 h 333"/>
              <a:gd name="T74" fmla="*/ 192 w 334"/>
              <a:gd name="T75" fmla="*/ 0 h 333"/>
              <a:gd name="T76" fmla="*/ 191 w 334"/>
              <a:gd name="T77" fmla="*/ 0 h 333"/>
              <a:gd name="T78" fmla="*/ 191 w 334"/>
              <a:gd name="T79" fmla="*/ 0 h 333"/>
              <a:gd name="T80" fmla="*/ 191 w 334"/>
              <a:gd name="T81" fmla="*/ 0 h 333"/>
              <a:gd name="T82" fmla="*/ 190 w 334"/>
              <a:gd name="T83" fmla="*/ 0 h 333"/>
              <a:gd name="T84" fmla="*/ 190 w 334"/>
              <a:gd name="T85" fmla="*/ 0 h 333"/>
              <a:gd name="T86" fmla="*/ 190 w 334"/>
              <a:gd name="T87" fmla="*/ 0 h 333"/>
              <a:gd name="T88" fmla="*/ 189 w 334"/>
              <a:gd name="T89" fmla="*/ 0 h 333"/>
              <a:gd name="T90" fmla="*/ 189 w 334"/>
              <a:gd name="T91" fmla="*/ 0 h 333"/>
              <a:gd name="T92" fmla="*/ 189 w 334"/>
              <a:gd name="T93" fmla="*/ 0 h 333"/>
              <a:gd name="T94" fmla="*/ 189 w 334"/>
              <a:gd name="T95" fmla="*/ 0 h 333"/>
              <a:gd name="T96" fmla="*/ 188 w 334"/>
              <a:gd name="T97" fmla="*/ 0 h 333"/>
              <a:gd name="T98" fmla="*/ 188 w 334"/>
              <a:gd name="T99" fmla="*/ 0 h 333"/>
              <a:gd name="T100" fmla="*/ 188 w 334"/>
              <a:gd name="T101" fmla="*/ 0 h 333"/>
              <a:gd name="T102" fmla="*/ 187 w 334"/>
              <a:gd name="T103" fmla="*/ 0 h 333"/>
              <a:gd name="T104" fmla="*/ 187 w 334"/>
              <a:gd name="T105" fmla="*/ 0 h 333"/>
              <a:gd name="T106" fmla="*/ 187 w 334"/>
              <a:gd name="T107" fmla="*/ 0 h 333"/>
              <a:gd name="T108" fmla="*/ 186 w 334"/>
              <a:gd name="T109" fmla="*/ 0 h 333"/>
              <a:gd name="T110" fmla="*/ 186 w 334"/>
              <a:gd name="T111" fmla="*/ 0 h 333"/>
              <a:gd name="T112" fmla="*/ 186 w 334"/>
              <a:gd name="T113" fmla="*/ 0 h 333"/>
              <a:gd name="T114" fmla="*/ 185 w 334"/>
              <a:gd name="T115" fmla="*/ 0 h 333"/>
              <a:gd name="T116" fmla="*/ 185 w 334"/>
              <a:gd name="T117" fmla="*/ 0 h 333"/>
              <a:gd name="T118" fmla="*/ 185 w 334"/>
              <a:gd name="T119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4" h="333">
                <a:moveTo>
                  <a:pt x="185" y="0"/>
                </a:moveTo>
                <a:cubicBezTo>
                  <a:pt x="83" y="0"/>
                  <a:pt x="0" y="82"/>
                  <a:pt x="0" y="184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184"/>
                  <a:pt x="0" y="184"/>
                  <a:pt x="0" y="185"/>
                </a:cubicBez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5"/>
                </a:cubicBezTo>
                <a:cubicBezTo>
                  <a:pt x="0" y="185"/>
                  <a:pt x="0" y="185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88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0" y="189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1"/>
                </a:cubicBezTo>
                <a:cubicBezTo>
                  <a:pt x="0" y="191"/>
                  <a:pt x="0" y="191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3" y="251"/>
                  <a:pt x="32" y="301"/>
                  <a:pt x="76" y="333"/>
                </a:cubicBezTo>
                <a:cubicBezTo>
                  <a:pt x="53" y="303"/>
                  <a:pt x="40" y="265"/>
                  <a:pt x="40" y="224"/>
                </a:cubicBezTo>
                <a:cubicBezTo>
                  <a:pt x="40" y="122"/>
                  <a:pt x="123" y="40"/>
                  <a:pt x="225" y="40"/>
                </a:cubicBezTo>
                <a:cubicBezTo>
                  <a:pt x="265" y="40"/>
                  <a:pt x="303" y="53"/>
                  <a:pt x="334" y="75"/>
                </a:cubicBezTo>
                <a:cubicBezTo>
                  <a:pt x="302" y="32"/>
                  <a:pt x="251" y="3"/>
                  <a:pt x="194" y="0"/>
                </a:cubicBezTo>
                <a:cubicBezTo>
                  <a:pt x="194" y="0"/>
                  <a:pt x="194" y="0"/>
                  <a:pt x="194" y="0"/>
                </a:cubicBezTo>
                <a:cubicBezTo>
                  <a:pt x="194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0"/>
                  <a:pt x="190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0"/>
                  <a:pt x="187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  <a:cubicBezTo>
                  <a:pt x="185" y="0"/>
                  <a:pt x="185" y="0"/>
                  <a:pt x="185" y="0"/>
                </a:cubicBezTo>
              </a:path>
            </a:pathLst>
          </a:custGeom>
          <a:solidFill>
            <a:srgbClr val="F49C1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3" name="Freeform 48">
            <a:extLst>
              <a:ext uri="{FF2B5EF4-FFF2-40B4-BE49-F238E27FC236}">
                <a16:creationId xmlns:a16="http://schemas.microsoft.com/office/drawing/2014/main" id="{D44BEA06-39AD-4E14-A28A-04ED79C86766}"/>
              </a:ext>
            </a:extLst>
          </p:cNvPr>
          <p:cNvSpPr>
            <a:spLocks noEditPoints="1"/>
          </p:cNvSpPr>
          <p:nvPr/>
        </p:nvSpPr>
        <p:spPr bwMode="auto">
          <a:xfrm>
            <a:off x="8054976" y="3873501"/>
            <a:ext cx="609600" cy="614363"/>
          </a:xfrm>
          <a:custGeom>
            <a:avLst/>
            <a:gdLst>
              <a:gd name="T0" fmla="*/ 1 w 125"/>
              <a:gd name="T1" fmla="*/ 126 h 126"/>
              <a:gd name="T2" fmla="*/ 1 w 125"/>
              <a:gd name="T3" fmla="*/ 125 h 126"/>
              <a:gd name="T4" fmla="*/ 0 w 125"/>
              <a:gd name="T5" fmla="*/ 125 h 126"/>
              <a:gd name="T6" fmla="*/ 0 w 125"/>
              <a:gd name="T7" fmla="*/ 124 h 126"/>
              <a:gd name="T8" fmla="*/ 0 w 125"/>
              <a:gd name="T9" fmla="*/ 124 h 126"/>
              <a:gd name="T10" fmla="*/ 0 w 125"/>
              <a:gd name="T11" fmla="*/ 124 h 126"/>
              <a:gd name="T12" fmla="*/ 0 w 125"/>
              <a:gd name="T13" fmla="*/ 123 h 126"/>
              <a:gd name="T14" fmla="*/ 0 w 125"/>
              <a:gd name="T15" fmla="*/ 123 h 126"/>
              <a:gd name="T16" fmla="*/ 0 w 125"/>
              <a:gd name="T17" fmla="*/ 123 h 126"/>
              <a:gd name="T18" fmla="*/ 0 w 125"/>
              <a:gd name="T19" fmla="*/ 122 h 126"/>
              <a:gd name="T20" fmla="*/ 0 w 125"/>
              <a:gd name="T21" fmla="*/ 122 h 126"/>
              <a:gd name="T22" fmla="*/ 0 w 125"/>
              <a:gd name="T23" fmla="*/ 122 h 126"/>
              <a:gd name="T24" fmla="*/ 0 w 125"/>
              <a:gd name="T25" fmla="*/ 122 h 126"/>
              <a:gd name="T26" fmla="*/ 0 w 125"/>
              <a:gd name="T27" fmla="*/ 121 h 126"/>
              <a:gd name="T28" fmla="*/ 0 w 125"/>
              <a:gd name="T29" fmla="*/ 121 h 126"/>
              <a:gd name="T30" fmla="*/ 0 w 125"/>
              <a:gd name="T31" fmla="*/ 121 h 126"/>
              <a:gd name="T32" fmla="*/ 0 w 125"/>
              <a:gd name="T33" fmla="*/ 121 h 126"/>
              <a:gd name="T34" fmla="*/ 0 w 125"/>
              <a:gd name="T35" fmla="*/ 120 h 126"/>
              <a:gd name="T36" fmla="*/ 0 w 125"/>
              <a:gd name="T37" fmla="*/ 120 h 126"/>
              <a:gd name="T38" fmla="*/ 0 w 125"/>
              <a:gd name="T39" fmla="*/ 120 h 126"/>
              <a:gd name="T40" fmla="*/ 0 w 125"/>
              <a:gd name="T41" fmla="*/ 120 h 126"/>
              <a:gd name="T42" fmla="*/ 0 w 125"/>
              <a:gd name="T43" fmla="*/ 119 h 126"/>
              <a:gd name="T44" fmla="*/ 0 w 125"/>
              <a:gd name="T45" fmla="*/ 119 h 126"/>
              <a:gd name="T46" fmla="*/ 0 w 125"/>
              <a:gd name="T47" fmla="*/ 119 h 126"/>
              <a:gd name="T48" fmla="*/ 0 w 125"/>
              <a:gd name="T49" fmla="*/ 119 h 126"/>
              <a:gd name="T50" fmla="*/ 0 w 125"/>
              <a:gd name="T51" fmla="*/ 118 h 126"/>
              <a:gd name="T52" fmla="*/ 125 w 125"/>
              <a:gd name="T53" fmla="*/ 0 h 126"/>
              <a:gd name="T54" fmla="*/ 125 w 125"/>
              <a:gd name="T55" fmla="*/ 0 h 126"/>
              <a:gd name="T56" fmla="*/ 124 w 125"/>
              <a:gd name="T57" fmla="*/ 0 h 126"/>
              <a:gd name="T58" fmla="*/ 124 w 125"/>
              <a:gd name="T59" fmla="*/ 0 h 126"/>
              <a:gd name="T60" fmla="*/ 123 w 125"/>
              <a:gd name="T61" fmla="*/ 0 h 126"/>
              <a:gd name="T62" fmla="*/ 123 w 125"/>
              <a:gd name="T63" fmla="*/ 0 h 126"/>
              <a:gd name="T64" fmla="*/ 123 w 125"/>
              <a:gd name="T65" fmla="*/ 0 h 126"/>
              <a:gd name="T66" fmla="*/ 122 w 125"/>
              <a:gd name="T67" fmla="*/ 0 h 126"/>
              <a:gd name="T68" fmla="*/ 122 w 125"/>
              <a:gd name="T69" fmla="*/ 0 h 126"/>
              <a:gd name="T70" fmla="*/ 122 w 125"/>
              <a:gd name="T71" fmla="*/ 0 h 126"/>
              <a:gd name="T72" fmla="*/ 122 w 125"/>
              <a:gd name="T73" fmla="*/ 0 h 126"/>
              <a:gd name="T74" fmla="*/ 121 w 125"/>
              <a:gd name="T75" fmla="*/ 0 h 126"/>
              <a:gd name="T76" fmla="*/ 121 w 125"/>
              <a:gd name="T77" fmla="*/ 0 h 126"/>
              <a:gd name="T78" fmla="*/ 121 w 125"/>
              <a:gd name="T79" fmla="*/ 0 h 126"/>
              <a:gd name="T80" fmla="*/ 121 w 125"/>
              <a:gd name="T81" fmla="*/ 0 h 126"/>
              <a:gd name="T82" fmla="*/ 120 w 125"/>
              <a:gd name="T83" fmla="*/ 0 h 126"/>
              <a:gd name="T84" fmla="*/ 120 w 125"/>
              <a:gd name="T85" fmla="*/ 0 h 126"/>
              <a:gd name="T86" fmla="*/ 120 w 125"/>
              <a:gd name="T87" fmla="*/ 0 h 126"/>
              <a:gd name="T88" fmla="*/ 120 w 125"/>
              <a:gd name="T89" fmla="*/ 0 h 126"/>
              <a:gd name="T90" fmla="*/ 120 w 125"/>
              <a:gd name="T91" fmla="*/ 0 h 126"/>
              <a:gd name="T92" fmla="*/ 119 w 125"/>
              <a:gd name="T93" fmla="*/ 0 h 126"/>
              <a:gd name="T94" fmla="*/ 119 w 125"/>
              <a:gd name="T95" fmla="*/ 0 h 126"/>
              <a:gd name="T96" fmla="*/ 119 w 125"/>
              <a:gd name="T97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5" h="126">
                <a:moveTo>
                  <a:pt x="1" y="126"/>
                </a:moveTo>
                <a:cubicBezTo>
                  <a:pt x="1" y="126"/>
                  <a:pt x="1" y="126"/>
                  <a:pt x="1" y="126"/>
                </a:cubicBezTo>
                <a:cubicBezTo>
                  <a:pt x="1" y="126"/>
                  <a:pt x="1" y="126"/>
                  <a:pt x="1" y="126"/>
                </a:cubicBezTo>
                <a:moveTo>
                  <a:pt x="1" y="125"/>
                </a:moveTo>
                <a:cubicBezTo>
                  <a:pt x="1" y="125"/>
                  <a:pt x="1" y="125"/>
                  <a:pt x="1" y="125"/>
                </a:cubicBezTo>
                <a:cubicBezTo>
                  <a:pt x="1" y="125"/>
                  <a:pt x="1" y="125"/>
                  <a:pt x="1" y="125"/>
                </a:cubicBezTo>
                <a:moveTo>
                  <a:pt x="0" y="125"/>
                </a:moveTo>
                <a:cubicBezTo>
                  <a:pt x="0" y="125"/>
                  <a:pt x="0" y="125"/>
                  <a:pt x="0" y="125"/>
                </a:cubicBezTo>
                <a:cubicBezTo>
                  <a:pt x="0" y="125"/>
                  <a:pt x="0" y="125"/>
                  <a:pt x="0" y="125"/>
                </a:cubicBezTo>
                <a:moveTo>
                  <a:pt x="0" y="124"/>
                </a:move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moveTo>
                  <a:pt x="0" y="124"/>
                </a:move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moveTo>
                  <a:pt x="0" y="124"/>
                </a:move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moveTo>
                  <a:pt x="0" y="123"/>
                </a:move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moveTo>
                  <a:pt x="0" y="123"/>
                </a:move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moveTo>
                  <a:pt x="0" y="123"/>
                </a:move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moveTo>
                  <a:pt x="0" y="122"/>
                </a:moveTo>
                <a:cubicBezTo>
                  <a:pt x="0" y="122"/>
                  <a:pt x="0" y="122"/>
                  <a:pt x="0" y="123"/>
                </a:cubicBezTo>
                <a:cubicBezTo>
                  <a:pt x="0" y="122"/>
                  <a:pt x="0" y="122"/>
                  <a:pt x="0" y="122"/>
                </a:cubicBezTo>
                <a:moveTo>
                  <a:pt x="0" y="122"/>
                </a:move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moveTo>
                  <a:pt x="0" y="122"/>
                </a:move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moveTo>
                  <a:pt x="0" y="122"/>
                </a:move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moveTo>
                  <a:pt x="0" y="121"/>
                </a:move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moveTo>
                  <a:pt x="0" y="121"/>
                </a:move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moveTo>
                  <a:pt x="0" y="121"/>
                </a:move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moveTo>
                  <a:pt x="0" y="121"/>
                </a:move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moveTo>
                  <a:pt x="0" y="120"/>
                </a:move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moveTo>
                  <a:pt x="0" y="120"/>
                </a:move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moveTo>
                  <a:pt x="0" y="120"/>
                </a:move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moveTo>
                  <a:pt x="0" y="120"/>
                </a:move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moveTo>
                  <a:pt x="0" y="119"/>
                </a:move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moveTo>
                  <a:pt x="0" y="119"/>
                </a:move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moveTo>
                  <a:pt x="0" y="119"/>
                </a:move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moveTo>
                  <a:pt x="0" y="119"/>
                </a:move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moveTo>
                  <a:pt x="0" y="118"/>
                </a:moveTo>
                <a:cubicBezTo>
                  <a:pt x="0" y="118"/>
                  <a:pt x="0" y="118"/>
                  <a:pt x="0" y="119"/>
                </a:cubicBezTo>
                <a:cubicBezTo>
                  <a:pt x="0" y="118"/>
                  <a:pt x="0" y="118"/>
                  <a:pt x="0" y="118"/>
                </a:cubicBezTo>
                <a:moveTo>
                  <a:pt x="125" y="0"/>
                </a:move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moveTo>
                  <a:pt x="125" y="0"/>
                </a:move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moveTo>
                  <a:pt x="124" y="0"/>
                </a:move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4" y="0"/>
                  <a:pt x="124" y="0"/>
                </a:cubicBezTo>
                <a:moveTo>
                  <a:pt x="124" y="0"/>
                </a:move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4" y="0"/>
                  <a:pt x="124" y="0"/>
                </a:cubicBezTo>
                <a:moveTo>
                  <a:pt x="123" y="0"/>
                </a:move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moveTo>
                  <a:pt x="123" y="0"/>
                </a:move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moveTo>
                  <a:pt x="123" y="0"/>
                </a:move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moveTo>
                  <a:pt x="122" y="0"/>
                </a:move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moveTo>
                  <a:pt x="122" y="0"/>
                </a:move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moveTo>
                  <a:pt x="122" y="0"/>
                </a:move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moveTo>
                  <a:pt x="122" y="0"/>
                </a:move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moveTo>
                  <a:pt x="121" y="0"/>
                </a:move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moveTo>
                  <a:pt x="121" y="0"/>
                </a:move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moveTo>
                  <a:pt x="121" y="0"/>
                </a:move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moveTo>
                  <a:pt x="121" y="0"/>
                </a:move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moveTo>
                  <a:pt x="120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moveTo>
                  <a:pt x="120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moveTo>
                  <a:pt x="120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moveTo>
                  <a:pt x="120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moveTo>
                  <a:pt x="120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moveTo>
                  <a:pt x="119" y="0"/>
                </a:move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moveTo>
                  <a:pt x="119" y="0"/>
                </a:move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moveTo>
                  <a:pt x="119" y="0"/>
                </a:move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4" name="Freeform 49">
            <a:extLst>
              <a:ext uri="{FF2B5EF4-FFF2-40B4-BE49-F238E27FC236}">
                <a16:creationId xmlns:a16="http://schemas.microsoft.com/office/drawing/2014/main" id="{A8DA7717-061B-4EF9-974B-D10067B02DA2}"/>
              </a:ext>
            </a:extLst>
          </p:cNvPr>
          <p:cNvSpPr>
            <a:spLocks/>
          </p:cNvSpPr>
          <p:nvPr/>
        </p:nvSpPr>
        <p:spPr bwMode="auto">
          <a:xfrm>
            <a:off x="8054976" y="3873501"/>
            <a:ext cx="1054100" cy="1054100"/>
          </a:xfrm>
          <a:custGeom>
            <a:avLst/>
            <a:gdLst>
              <a:gd name="T0" fmla="*/ 96 w 216"/>
              <a:gd name="T1" fmla="*/ 2 h 216"/>
              <a:gd name="T2" fmla="*/ 2 w 216"/>
              <a:gd name="T3" fmla="*/ 96 h 216"/>
              <a:gd name="T4" fmla="*/ 0 w 216"/>
              <a:gd name="T5" fmla="*/ 118 h 216"/>
              <a:gd name="T6" fmla="*/ 0 w 216"/>
              <a:gd name="T7" fmla="*/ 119 h 216"/>
              <a:gd name="T8" fmla="*/ 0 w 216"/>
              <a:gd name="T9" fmla="*/ 119 h 216"/>
              <a:gd name="T10" fmla="*/ 0 w 216"/>
              <a:gd name="T11" fmla="*/ 119 h 216"/>
              <a:gd name="T12" fmla="*/ 0 w 216"/>
              <a:gd name="T13" fmla="*/ 119 h 216"/>
              <a:gd name="T14" fmla="*/ 0 w 216"/>
              <a:gd name="T15" fmla="*/ 119 h 216"/>
              <a:gd name="T16" fmla="*/ 0 w 216"/>
              <a:gd name="T17" fmla="*/ 120 h 216"/>
              <a:gd name="T18" fmla="*/ 0 w 216"/>
              <a:gd name="T19" fmla="*/ 120 h 216"/>
              <a:gd name="T20" fmla="*/ 0 w 216"/>
              <a:gd name="T21" fmla="*/ 120 h 216"/>
              <a:gd name="T22" fmla="*/ 0 w 216"/>
              <a:gd name="T23" fmla="*/ 120 h 216"/>
              <a:gd name="T24" fmla="*/ 0 w 216"/>
              <a:gd name="T25" fmla="*/ 121 h 216"/>
              <a:gd name="T26" fmla="*/ 0 w 216"/>
              <a:gd name="T27" fmla="*/ 121 h 216"/>
              <a:gd name="T28" fmla="*/ 0 w 216"/>
              <a:gd name="T29" fmla="*/ 121 h 216"/>
              <a:gd name="T30" fmla="*/ 0 w 216"/>
              <a:gd name="T31" fmla="*/ 121 h 216"/>
              <a:gd name="T32" fmla="*/ 0 w 216"/>
              <a:gd name="T33" fmla="*/ 122 h 216"/>
              <a:gd name="T34" fmla="*/ 0 w 216"/>
              <a:gd name="T35" fmla="*/ 122 h 216"/>
              <a:gd name="T36" fmla="*/ 0 w 216"/>
              <a:gd name="T37" fmla="*/ 122 h 216"/>
              <a:gd name="T38" fmla="*/ 0 w 216"/>
              <a:gd name="T39" fmla="*/ 123 h 216"/>
              <a:gd name="T40" fmla="*/ 0 w 216"/>
              <a:gd name="T41" fmla="*/ 123 h 216"/>
              <a:gd name="T42" fmla="*/ 0 w 216"/>
              <a:gd name="T43" fmla="*/ 123 h 216"/>
              <a:gd name="T44" fmla="*/ 0 w 216"/>
              <a:gd name="T45" fmla="*/ 123 h 216"/>
              <a:gd name="T46" fmla="*/ 0 w 216"/>
              <a:gd name="T47" fmla="*/ 124 h 216"/>
              <a:gd name="T48" fmla="*/ 0 w 216"/>
              <a:gd name="T49" fmla="*/ 124 h 216"/>
              <a:gd name="T50" fmla="*/ 0 w 216"/>
              <a:gd name="T51" fmla="*/ 124 h 216"/>
              <a:gd name="T52" fmla="*/ 0 w 216"/>
              <a:gd name="T53" fmla="*/ 125 h 216"/>
              <a:gd name="T54" fmla="*/ 1 w 216"/>
              <a:gd name="T55" fmla="*/ 125 h 216"/>
              <a:gd name="T56" fmla="*/ 1 w 216"/>
              <a:gd name="T57" fmla="*/ 126 h 216"/>
              <a:gd name="T58" fmla="*/ 31 w 216"/>
              <a:gd name="T59" fmla="*/ 149 h 216"/>
              <a:gd name="T60" fmla="*/ 216 w 216"/>
              <a:gd name="T61" fmla="*/ 51 h 216"/>
              <a:gd name="T62" fmla="*/ 125 w 216"/>
              <a:gd name="T63" fmla="*/ 0 h 216"/>
              <a:gd name="T64" fmla="*/ 125 w 216"/>
              <a:gd name="T65" fmla="*/ 0 h 216"/>
              <a:gd name="T66" fmla="*/ 124 w 216"/>
              <a:gd name="T67" fmla="*/ 0 h 216"/>
              <a:gd name="T68" fmla="*/ 124 w 216"/>
              <a:gd name="T69" fmla="*/ 0 h 216"/>
              <a:gd name="T70" fmla="*/ 123 w 216"/>
              <a:gd name="T71" fmla="*/ 0 h 216"/>
              <a:gd name="T72" fmla="*/ 123 w 216"/>
              <a:gd name="T73" fmla="*/ 0 h 216"/>
              <a:gd name="T74" fmla="*/ 123 w 216"/>
              <a:gd name="T75" fmla="*/ 0 h 216"/>
              <a:gd name="T76" fmla="*/ 122 w 216"/>
              <a:gd name="T77" fmla="*/ 0 h 216"/>
              <a:gd name="T78" fmla="*/ 122 w 216"/>
              <a:gd name="T79" fmla="*/ 0 h 216"/>
              <a:gd name="T80" fmla="*/ 122 w 216"/>
              <a:gd name="T81" fmla="*/ 0 h 216"/>
              <a:gd name="T82" fmla="*/ 122 w 216"/>
              <a:gd name="T83" fmla="*/ 0 h 216"/>
              <a:gd name="T84" fmla="*/ 121 w 216"/>
              <a:gd name="T85" fmla="*/ 0 h 216"/>
              <a:gd name="T86" fmla="*/ 121 w 216"/>
              <a:gd name="T87" fmla="*/ 0 h 216"/>
              <a:gd name="T88" fmla="*/ 121 w 216"/>
              <a:gd name="T89" fmla="*/ 0 h 216"/>
              <a:gd name="T90" fmla="*/ 121 w 216"/>
              <a:gd name="T91" fmla="*/ 0 h 216"/>
              <a:gd name="T92" fmla="*/ 120 w 216"/>
              <a:gd name="T93" fmla="*/ 0 h 216"/>
              <a:gd name="T94" fmla="*/ 120 w 216"/>
              <a:gd name="T95" fmla="*/ 0 h 216"/>
              <a:gd name="T96" fmla="*/ 120 w 216"/>
              <a:gd name="T97" fmla="*/ 0 h 216"/>
              <a:gd name="T98" fmla="*/ 120 w 216"/>
              <a:gd name="T99" fmla="*/ 0 h 216"/>
              <a:gd name="T100" fmla="*/ 120 w 216"/>
              <a:gd name="T101" fmla="*/ 0 h 216"/>
              <a:gd name="T102" fmla="*/ 119 w 216"/>
              <a:gd name="T103" fmla="*/ 0 h 216"/>
              <a:gd name="T104" fmla="*/ 119 w 216"/>
              <a:gd name="T105" fmla="*/ 0 h 216"/>
              <a:gd name="T106" fmla="*/ 119 w 216"/>
              <a:gd name="T107" fmla="*/ 0 h 216"/>
              <a:gd name="T108" fmla="*/ 119 w 216"/>
              <a:gd name="T109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6" h="216">
                <a:moveTo>
                  <a:pt x="119" y="0"/>
                </a:moveTo>
                <a:cubicBezTo>
                  <a:pt x="111" y="0"/>
                  <a:pt x="103" y="1"/>
                  <a:pt x="96" y="2"/>
                </a:cubicBezTo>
                <a:cubicBezTo>
                  <a:pt x="96" y="2"/>
                  <a:pt x="96" y="2"/>
                  <a:pt x="96" y="2"/>
                </a:cubicBezTo>
                <a:cubicBezTo>
                  <a:pt x="49" y="11"/>
                  <a:pt x="12" y="48"/>
                  <a:pt x="2" y="96"/>
                </a:cubicBezTo>
                <a:cubicBezTo>
                  <a:pt x="2" y="96"/>
                  <a:pt x="2" y="96"/>
                  <a:pt x="2" y="96"/>
                </a:cubicBezTo>
                <a:cubicBezTo>
                  <a:pt x="1" y="103"/>
                  <a:pt x="0" y="111"/>
                  <a:pt x="0" y="118"/>
                </a:cubicBezTo>
                <a:cubicBezTo>
                  <a:pt x="0" y="118"/>
                  <a:pt x="0" y="118"/>
                  <a:pt x="0" y="118"/>
                </a:cubicBezTo>
                <a:cubicBezTo>
                  <a:pt x="0" y="118"/>
                  <a:pt x="0" y="118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1"/>
                  <a:pt x="0" y="121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22"/>
                  <a:pt x="0" y="122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0" y="125"/>
                  <a:pt x="0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1" y="125"/>
                  <a:pt x="1" y="125"/>
                  <a:pt x="1" y="125"/>
                </a:cubicBezTo>
                <a:cubicBezTo>
                  <a:pt x="1" y="125"/>
                  <a:pt x="1" y="125"/>
                  <a:pt x="1" y="125"/>
                </a:cubicBezTo>
                <a:cubicBezTo>
                  <a:pt x="1" y="125"/>
                  <a:pt x="1" y="125"/>
                  <a:pt x="1" y="126"/>
                </a:cubicBezTo>
                <a:cubicBezTo>
                  <a:pt x="1" y="126"/>
                  <a:pt x="1" y="126"/>
                  <a:pt x="1" y="126"/>
                </a:cubicBezTo>
                <a:cubicBezTo>
                  <a:pt x="3" y="163"/>
                  <a:pt x="23" y="196"/>
                  <a:pt x="52" y="216"/>
                </a:cubicBezTo>
                <a:cubicBezTo>
                  <a:pt x="39" y="197"/>
                  <a:pt x="31" y="174"/>
                  <a:pt x="31" y="149"/>
                </a:cubicBezTo>
                <a:cubicBezTo>
                  <a:pt x="31" y="84"/>
                  <a:pt x="84" y="31"/>
                  <a:pt x="149" y="31"/>
                </a:cubicBezTo>
                <a:cubicBezTo>
                  <a:pt x="174" y="31"/>
                  <a:pt x="197" y="38"/>
                  <a:pt x="216" y="51"/>
                </a:cubicBezTo>
                <a:cubicBezTo>
                  <a:pt x="196" y="22"/>
                  <a:pt x="163" y="2"/>
                  <a:pt x="12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1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</a:path>
            </a:pathLst>
          </a:custGeom>
          <a:solidFill>
            <a:srgbClr val="373E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5" name="Freeform 50">
            <a:extLst>
              <a:ext uri="{FF2B5EF4-FFF2-40B4-BE49-F238E27FC236}">
                <a16:creationId xmlns:a16="http://schemas.microsoft.com/office/drawing/2014/main" id="{1A2FB822-5EDA-402C-8D05-38C6F21481A5}"/>
              </a:ext>
            </a:extLst>
          </p:cNvPr>
          <p:cNvSpPr>
            <a:spLocks noEditPoints="1"/>
          </p:cNvSpPr>
          <p:nvPr/>
        </p:nvSpPr>
        <p:spPr bwMode="auto">
          <a:xfrm>
            <a:off x="9036051" y="4854576"/>
            <a:ext cx="482600" cy="482600"/>
          </a:xfrm>
          <a:custGeom>
            <a:avLst/>
            <a:gdLst>
              <a:gd name="T0" fmla="*/ 1 w 99"/>
              <a:gd name="T1" fmla="*/ 99 h 99"/>
              <a:gd name="T2" fmla="*/ 0 w 99"/>
              <a:gd name="T3" fmla="*/ 98 h 99"/>
              <a:gd name="T4" fmla="*/ 0 w 99"/>
              <a:gd name="T5" fmla="*/ 98 h 99"/>
              <a:gd name="T6" fmla="*/ 0 w 99"/>
              <a:gd name="T7" fmla="*/ 97 h 99"/>
              <a:gd name="T8" fmla="*/ 0 w 99"/>
              <a:gd name="T9" fmla="*/ 97 h 99"/>
              <a:gd name="T10" fmla="*/ 0 w 99"/>
              <a:gd name="T11" fmla="*/ 97 h 99"/>
              <a:gd name="T12" fmla="*/ 0 w 99"/>
              <a:gd name="T13" fmla="*/ 97 h 99"/>
              <a:gd name="T14" fmla="*/ 0 w 99"/>
              <a:gd name="T15" fmla="*/ 97 h 99"/>
              <a:gd name="T16" fmla="*/ 0 w 99"/>
              <a:gd name="T17" fmla="*/ 96 h 99"/>
              <a:gd name="T18" fmla="*/ 0 w 99"/>
              <a:gd name="T19" fmla="*/ 96 h 99"/>
              <a:gd name="T20" fmla="*/ 0 w 99"/>
              <a:gd name="T21" fmla="*/ 96 h 99"/>
              <a:gd name="T22" fmla="*/ 0 w 99"/>
              <a:gd name="T23" fmla="*/ 96 h 99"/>
              <a:gd name="T24" fmla="*/ 0 w 99"/>
              <a:gd name="T25" fmla="*/ 96 h 99"/>
              <a:gd name="T26" fmla="*/ 0 w 99"/>
              <a:gd name="T27" fmla="*/ 95 h 99"/>
              <a:gd name="T28" fmla="*/ 0 w 99"/>
              <a:gd name="T29" fmla="*/ 95 h 99"/>
              <a:gd name="T30" fmla="*/ 0 w 99"/>
              <a:gd name="T31" fmla="*/ 95 h 99"/>
              <a:gd name="T32" fmla="*/ 0 w 99"/>
              <a:gd name="T33" fmla="*/ 95 h 99"/>
              <a:gd name="T34" fmla="*/ 0 w 99"/>
              <a:gd name="T35" fmla="*/ 95 h 99"/>
              <a:gd name="T36" fmla="*/ 0 w 99"/>
              <a:gd name="T37" fmla="*/ 94 h 99"/>
              <a:gd name="T38" fmla="*/ 0 w 99"/>
              <a:gd name="T39" fmla="*/ 94 h 99"/>
              <a:gd name="T40" fmla="*/ 0 w 99"/>
              <a:gd name="T41" fmla="*/ 94 h 99"/>
              <a:gd name="T42" fmla="*/ 0 w 99"/>
              <a:gd name="T43" fmla="*/ 94 h 99"/>
              <a:gd name="T44" fmla="*/ 0 w 99"/>
              <a:gd name="T45" fmla="*/ 94 h 99"/>
              <a:gd name="T46" fmla="*/ 0 w 99"/>
              <a:gd name="T47" fmla="*/ 94 h 99"/>
              <a:gd name="T48" fmla="*/ 0 w 99"/>
              <a:gd name="T49" fmla="*/ 94 h 99"/>
              <a:gd name="T50" fmla="*/ 0 w 99"/>
              <a:gd name="T51" fmla="*/ 93 h 99"/>
              <a:gd name="T52" fmla="*/ 99 w 99"/>
              <a:gd name="T53" fmla="*/ 0 h 99"/>
              <a:gd name="T54" fmla="*/ 98 w 99"/>
              <a:gd name="T55" fmla="*/ 0 h 99"/>
              <a:gd name="T56" fmla="*/ 98 w 99"/>
              <a:gd name="T57" fmla="*/ 0 h 99"/>
              <a:gd name="T58" fmla="*/ 98 w 99"/>
              <a:gd name="T59" fmla="*/ 0 h 99"/>
              <a:gd name="T60" fmla="*/ 98 w 99"/>
              <a:gd name="T61" fmla="*/ 0 h 99"/>
              <a:gd name="T62" fmla="*/ 97 w 99"/>
              <a:gd name="T63" fmla="*/ 0 h 99"/>
              <a:gd name="T64" fmla="*/ 97 w 99"/>
              <a:gd name="T65" fmla="*/ 0 h 99"/>
              <a:gd name="T66" fmla="*/ 97 w 99"/>
              <a:gd name="T67" fmla="*/ 0 h 99"/>
              <a:gd name="T68" fmla="*/ 97 w 99"/>
              <a:gd name="T69" fmla="*/ 0 h 99"/>
              <a:gd name="T70" fmla="*/ 97 w 99"/>
              <a:gd name="T71" fmla="*/ 0 h 99"/>
              <a:gd name="T72" fmla="*/ 96 w 99"/>
              <a:gd name="T73" fmla="*/ 0 h 99"/>
              <a:gd name="T74" fmla="*/ 94 w 99"/>
              <a:gd name="T75" fmla="*/ 0 h 99"/>
              <a:gd name="T76" fmla="*/ 96 w 99"/>
              <a:gd name="T77" fmla="*/ 0 h 99"/>
              <a:gd name="T78" fmla="*/ 94 w 99"/>
              <a:gd name="T79" fmla="*/ 0 h 99"/>
              <a:gd name="T80" fmla="*/ 94 w 99"/>
              <a:gd name="T81" fmla="*/ 0 h 99"/>
              <a:gd name="T82" fmla="*/ 96 w 99"/>
              <a:gd name="T83" fmla="*/ 0 h 99"/>
              <a:gd name="T84" fmla="*/ 94 w 99"/>
              <a:gd name="T85" fmla="*/ 0 h 99"/>
              <a:gd name="T86" fmla="*/ 96 w 99"/>
              <a:gd name="T87" fmla="*/ 0 h 99"/>
              <a:gd name="T88" fmla="*/ 94 w 99"/>
              <a:gd name="T89" fmla="*/ 0 h 99"/>
              <a:gd name="T90" fmla="*/ 96 w 99"/>
              <a:gd name="T91" fmla="*/ 0 h 99"/>
              <a:gd name="T92" fmla="*/ 94 w 99"/>
              <a:gd name="T93" fmla="*/ 0 h 99"/>
              <a:gd name="T94" fmla="*/ 95 w 99"/>
              <a:gd name="T95" fmla="*/ 0 h 99"/>
              <a:gd name="T96" fmla="*/ 95 w 99"/>
              <a:gd name="T97" fmla="*/ 0 h 99"/>
              <a:gd name="T98" fmla="*/ 95 w 99"/>
              <a:gd name="T99" fmla="*/ 0 h 99"/>
              <a:gd name="T100" fmla="*/ 95 w 99"/>
              <a:gd name="T101" fmla="*/ 0 h 99"/>
              <a:gd name="T102" fmla="*/ 95 w 99"/>
              <a:gd name="T103" fmla="*/ 0 h 99"/>
              <a:gd name="T104" fmla="*/ 95 w 99"/>
              <a:gd name="T105" fmla="*/ 0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9" h="99">
                <a:moveTo>
                  <a:pt x="1" y="99"/>
                </a:move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moveTo>
                  <a:pt x="0" y="98"/>
                </a:move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moveTo>
                  <a:pt x="0" y="98"/>
                </a:move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moveTo>
                  <a:pt x="0" y="97"/>
                </a:move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moveTo>
                  <a:pt x="0" y="97"/>
                </a:move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moveTo>
                  <a:pt x="0" y="97"/>
                </a:move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moveTo>
                  <a:pt x="0" y="97"/>
                </a:move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moveTo>
                  <a:pt x="0" y="97"/>
                </a:move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moveTo>
                  <a:pt x="0" y="96"/>
                </a:move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moveTo>
                  <a:pt x="0" y="96"/>
                </a:move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moveTo>
                  <a:pt x="0" y="96"/>
                </a:move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moveTo>
                  <a:pt x="0" y="96"/>
                </a:move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moveTo>
                  <a:pt x="0" y="96"/>
                </a:move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moveTo>
                  <a:pt x="0" y="95"/>
                </a:move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moveTo>
                  <a:pt x="0" y="95"/>
                </a:move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moveTo>
                  <a:pt x="0" y="95"/>
                </a:move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moveTo>
                  <a:pt x="0" y="95"/>
                </a:move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moveTo>
                  <a:pt x="0" y="95"/>
                </a:move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4"/>
                </a:move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moveTo>
                  <a:pt x="0" y="93"/>
                </a:moveTo>
                <a:cubicBezTo>
                  <a:pt x="0" y="93"/>
                  <a:pt x="0" y="93"/>
                  <a:pt x="0" y="93"/>
                </a:cubicBezTo>
                <a:cubicBezTo>
                  <a:pt x="0" y="93"/>
                  <a:pt x="0" y="93"/>
                  <a:pt x="0" y="93"/>
                </a:cubicBezTo>
                <a:moveTo>
                  <a:pt x="99" y="0"/>
                </a:move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9" y="0"/>
                </a:cubicBezTo>
                <a:moveTo>
                  <a:pt x="98" y="0"/>
                </a:move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moveTo>
                  <a:pt x="98" y="0"/>
                </a:move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moveTo>
                  <a:pt x="98" y="0"/>
                </a:move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moveTo>
                  <a:pt x="97" y="0"/>
                </a:moveTo>
                <a:cubicBezTo>
                  <a:pt x="97" y="0"/>
                  <a:pt x="98" y="0"/>
                  <a:pt x="98" y="0"/>
                </a:cubicBezTo>
                <a:cubicBezTo>
                  <a:pt x="98" y="0"/>
                  <a:pt x="97" y="0"/>
                  <a:pt x="97" y="0"/>
                </a:cubicBezTo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moveTo>
                  <a:pt x="96" y="0"/>
                </a:move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moveTo>
                  <a:pt x="94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moveTo>
                  <a:pt x="96" y="0"/>
                </a:move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moveTo>
                  <a:pt x="94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moveTo>
                  <a:pt x="94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moveTo>
                  <a:pt x="96" y="0"/>
                </a:move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moveTo>
                  <a:pt x="94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moveTo>
                  <a:pt x="96" y="0"/>
                </a:move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moveTo>
                  <a:pt x="94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moveTo>
                  <a:pt x="96" y="0"/>
                </a:move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moveTo>
                  <a:pt x="95" y="0"/>
                </a:move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5" y="0"/>
                </a:cubicBezTo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6" name="Freeform 51">
            <a:extLst>
              <a:ext uri="{FF2B5EF4-FFF2-40B4-BE49-F238E27FC236}">
                <a16:creationId xmlns:a16="http://schemas.microsoft.com/office/drawing/2014/main" id="{37636141-6E0C-4E41-8AC8-82A890D8A06B}"/>
              </a:ext>
            </a:extLst>
          </p:cNvPr>
          <p:cNvSpPr>
            <a:spLocks/>
          </p:cNvSpPr>
          <p:nvPr/>
        </p:nvSpPr>
        <p:spPr bwMode="auto">
          <a:xfrm>
            <a:off x="9036051" y="4854576"/>
            <a:ext cx="849313" cy="847725"/>
          </a:xfrm>
          <a:custGeom>
            <a:avLst/>
            <a:gdLst>
              <a:gd name="T0" fmla="*/ 95 w 174"/>
              <a:gd name="T1" fmla="*/ 0 h 174"/>
              <a:gd name="T2" fmla="*/ 95 w 174"/>
              <a:gd name="T3" fmla="*/ 0 h 174"/>
              <a:gd name="T4" fmla="*/ 95 w 174"/>
              <a:gd name="T5" fmla="*/ 0 h 174"/>
              <a:gd name="T6" fmla="*/ 94 w 174"/>
              <a:gd name="T7" fmla="*/ 0 h 174"/>
              <a:gd name="T8" fmla="*/ 94 w 174"/>
              <a:gd name="T9" fmla="*/ 0 h 174"/>
              <a:gd name="T10" fmla="*/ 94 w 174"/>
              <a:gd name="T11" fmla="*/ 0 h 174"/>
              <a:gd name="T12" fmla="*/ 94 w 174"/>
              <a:gd name="T13" fmla="*/ 0 h 174"/>
              <a:gd name="T14" fmla="*/ 94 w 174"/>
              <a:gd name="T15" fmla="*/ 0 h 174"/>
              <a:gd name="T16" fmla="*/ 94 w 174"/>
              <a:gd name="T17" fmla="*/ 0 h 174"/>
              <a:gd name="T18" fmla="*/ 79 w 174"/>
              <a:gd name="T19" fmla="*/ 2 h 174"/>
              <a:gd name="T20" fmla="*/ 20 w 174"/>
              <a:gd name="T21" fmla="*/ 37 h 174"/>
              <a:gd name="T22" fmla="*/ 2 w 174"/>
              <a:gd name="T23" fmla="*/ 78 h 174"/>
              <a:gd name="T24" fmla="*/ 0 w 174"/>
              <a:gd name="T25" fmla="*/ 93 h 174"/>
              <a:gd name="T26" fmla="*/ 0 w 174"/>
              <a:gd name="T27" fmla="*/ 94 h 174"/>
              <a:gd name="T28" fmla="*/ 0 w 174"/>
              <a:gd name="T29" fmla="*/ 94 h 174"/>
              <a:gd name="T30" fmla="*/ 0 w 174"/>
              <a:gd name="T31" fmla="*/ 94 h 174"/>
              <a:gd name="T32" fmla="*/ 0 w 174"/>
              <a:gd name="T33" fmla="*/ 94 h 174"/>
              <a:gd name="T34" fmla="*/ 0 w 174"/>
              <a:gd name="T35" fmla="*/ 94 h 174"/>
              <a:gd name="T36" fmla="*/ 0 w 174"/>
              <a:gd name="T37" fmla="*/ 94 h 174"/>
              <a:gd name="T38" fmla="*/ 0 w 174"/>
              <a:gd name="T39" fmla="*/ 94 h 174"/>
              <a:gd name="T40" fmla="*/ 0 w 174"/>
              <a:gd name="T41" fmla="*/ 95 h 174"/>
              <a:gd name="T42" fmla="*/ 0 w 174"/>
              <a:gd name="T43" fmla="*/ 95 h 174"/>
              <a:gd name="T44" fmla="*/ 0 w 174"/>
              <a:gd name="T45" fmla="*/ 95 h 174"/>
              <a:gd name="T46" fmla="*/ 0 w 174"/>
              <a:gd name="T47" fmla="*/ 95 h 174"/>
              <a:gd name="T48" fmla="*/ 0 w 174"/>
              <a:gd name="T49" fmla="*/ 95 h 174"/>
              <a:gd name="T50" fmla="*/ 0 w 174"/>
              <a:gd name="T51" fmla="*/ 96 h 174"/>
              <a:gd name="T52" fmla="*/ 0 w 174"/>
              <a:gd name="T53" fmla="*/ 96 h 174"/>
              <a:gd name="T54" fmla="*/ 0 w 174"/>
              <a:gd name="T55" fmla="*/ 96 h 174"/>
              <a:gd name="T56" fmla="*/ 0 w 174"/>
              <a:gd name="T57" fmla="*/ 96 h 174"/>
              <a:gd name="T58" fmla="*/ 0 w 174"/>
              <a:gd name="T59" fmla="*/ 96 h 174"/>
              <a:gd name="T60" fmla="*/ 0 w 174"/>
              <a:gd name="T61" fmla="*/ 97 h 174"/>
              <a:gd name="T62" fmla="*/ 0 w 174"/>
              <a:gd name="T63" fmla="*/ 97 h 174"/>
              <a:gd name="T64" fmla="*/ 0 w 174"/>
              <a:gd name="T65" fmla="*/ 97 h 174"/>
              <a:gd name="T66" fmla="*/ 0 w 174"/>
              <a:gd name="T67" fmla="*/ 97 h 174"/>
              <a:gd name="T68" fmla="*/ 0 w 174"/>
              <a:gd name="T69" fmla="*/ 97 h 174"/>
              <a:gd name="T70" fmla="*/ 0 w 174"/>
              <a:gd name="T71" fmla="*/ 98 h 174"/>
              <a:gd name="T72" fmla="*/ 0 w 174"/>
              <a:gd name="T73" fmla="*/ 98 h 174"/>
              <a:gd name="T74" fmla="*/ 1 w 174"/>
              <a:gd name="T75" fmla="*/ 99 h 174"/>
              <a:gd name="T76" fmla="*/ 27 w 174"/>
              <a:gd name="T77" fmla="*/ 121 h 174"/>
              <a:gd name="T78" fmla="*/ 174 w 174"/>
              <a:gd name="T79" fmla="*/ 42 h 174"/>
              <a:gd name="T80" fmla="*/ 99 w 174"/>
              <a:gd name="T81" fmla="*/ 0 h 174"/>
              <a:gd name="T82" fmla="*/ 98 w 174"/>
              <a:gd name="T83" fmla="*/ 0 h 174"/>
              <a:gd name="T84" fmla="*/ 98 w 174"/>
              <a:gd name="T85" fmla="*/ 0 h 174"/>
              <a:gd name="T86" fmla="*/ 98 w 174"/>
              <a:gd name="T87" fmla="*/ 0 h 174"/>
              <a:gd name="T88" fmla="*/ 97 w 174"/>
              <a:gd name="T89" fmla="*/ 0 h 174"/>
              <a:gd name="T90" fmla="*/ 97 w 174"/>
              <a:gd name="T91" fmla="*/ 0 h 174"/>
              <a:gd name="T92" fmla="*/ 97 w 174"/>
              <a:gd name="T93" fmla="*/ 0 h 174"/>
              <a:gd name="T94" fmla="*/ 97 w 174"/>
              <a:gd name="T95" fmla="*/ 0 h 174"/>
              <a:gd name="T96" fmla="*/ 97 w 174"/>
              <a:gd name="T97" fmla="*/ 0 h 174"/>
              <a:gd name="T98" fmla="*/ 97 w 174"/>
              <a:gd name="T99" fmla="*/ 0 h 174"/>
              <a:gd name="T100" fmla="*/ 96 w 174"/>
              <a:gd name="T101" fmla="*/ 0 h 174"/>
              <a:gd name="T102" fmla="*/ 96 w 174"/>
              <a:gd name="T103" fmla="*/ 0 h 174"/>
              <a:gd name="T104" fmla="*/ 96 w 174"/>
              <a:gd name="T105" fmla="*/ 0 h 174"/>
              <a:gd name="T106" fmla="*/ 96 w 174"/>
              <a:gd name="T107" fmla="*/ 0 h 174"/>
              <a:gd name="T108" fmla="*/ 96 w 174"/>
              <a:gd name="T109" fmla="*/ 0 h 174"/>
              <a:gd name="T110" fmla="*/ 95 w 174"/>
              <a:gd name="T111" fmla="*/ 0 h 174"/>
              <a:gd name="T112" fmla="*/ 95 w 174"/>
              <a:gd name="T113" fmla="*/ 0 h 174"/>
              <a:gd name="T114" fmla="*/ 95 w 174"/>
              <a:gd name="T115" fmla="*/ 0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4" h="174">
                <a:moveTo>
                  <a:pt x="95" y="0"/>
                </a:move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89" y="0"/>
                  <a:pt x="84" y="1"/>
                  <a:pt x="79" y="2"/>
                </a:cubicBezTo>
                <a:cubicBezTo>
                  <a:pt x="79" y="2"/>
                  <a:pt x="79" y="2"/>
                  <a:pt x="79" y="2"/>
                </a:cubicBezTo>
                <a:cubicBezTo>
                  <a:pt x="63" y="4"/>
                  <a:pt x="49" y="11"/>
                  <a:pt x="37" y="20"/>
                </a:cubicBezTo>
                <a:cubicBezTo>
                  <a:pt x="32" y="26"/>
                  <a:pt x="26" y="32"/>
                  <a:pt x="20" y="37"/>
                </a:cubicBezTo>
                <a:cubicBezTo>
                  <a:pt x="11" y="49"/>
                  <a:pt x="5" y="63"/>
                  <a:pt x="2" y="78"/>
                </a:cubicBezTo>
                <a:cubicBezTo>
                  <a:pt x="2" y="78"/>
                  <a:pt x="2" y="78"/>
                  <a:pt x="2" y="78"/>
                </a:cubicBezTo>
                <a:cubicBezTo>
                  <a:pt x="1" y="83"/>
                  <a:pt x="0" y="88"/>
                  <a:pt x="0" y="93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93"/>
                  <a:pt x="0" y="93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2" y="130"/>
                  <a:pt x="18" y="157"/>
                  <a:pt x="43" y="174"/>
                </a:cubicBezTo>
                <a:cubicBezTo>
                  <a:pt x="33" y="159"/>
                  <a:pt x="27" y="141"/>
                  <a:pt x="27" y="121"/>
                </a:cubicBezTo>
                <a:cubicBezTo>
                  <a:pt x="27" y="69"/>
                  <a:pt x="69" y="27"/>
                  <a:pt x="122" y="27"/>
                </a:cubicBezTo>
                <a:cubicBezTo>
                  <a:pt x="141" y="27"/>
                  <a:pt x="159" y="33"/>
                  <a:pt x="174" y="42"/>
                </a:cubicBezTo>
                <a:cubicBezTo>
                  <a:pt x="158" y="18"/>
                  <a:pt x="130" y="1"/>
                  <a:pt x="99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98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5" y="0"/>
                  <a:pt x="95" y="0"/>
                  <a:pt x="95" y="0"/>
                </a:cubicBezTo>
              </a:path>
            </a:pathLst>
          </a:custGeom>
          <a:solidFill>
            <a:srgbClr val="2AA1D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7" name="Freeform 52">
            <a:extLst>
              <a:ext uri="{FF2B5EF4-FFF2-40B4-BE49-F238E27FC236}">
                <a16:creationId xmlns:a16="http://schemas.microsoft.com/office/drawing/2014/main" id="{554C2598-9A07-49B9-A657-5793347E180B}"/>
              </a:ext>
            </a:extLst>
          </p:cNvPr>
          <p:cNvSpPr>
            <a:spLocks/>
          </p:cNvSpPr>
          <p:nvPr/>
        </p:nvSpPr>
        <p:spPr bwMode="auto">
          <a:xfrm>
            <a:off x="9132888" y="4951413"/>
            <a:ext cx="84138" cy="82550"/>
          </a:xfrm>
          <a:custGeom>
            <a:avLst/>
            <a:gdLst>
              <a:gd name="T0" fmla="*/ 17 w 17"/>
              <a:gd name="T1" fmla="*/ 0 h 17"/>
              <a:gd name="T2" fmla="*/ 17 w 17"/>
              <a:gd name="T3" fmla="*/ 0 h 17"/>
              <a:gd name="T4" fmla="*/ 0 w 17"/>
              <a:gd name="T5" fmla="*/ 17 h 17"/>
              <a:gd name="T6" fmla="*/ 0 w 17"/>
              <a:gd name="T7" fmla="*/ 17 h 17"/>
              <a:gd name="T8" fmla="*/ 17 w 17"/>
              <a:gd name="T9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7">
                <a:moveTo>
                  <a:pt x="17" y="0"/>
                </a:moveTo>
                <a:cubicBezTo>
                  <a:pt x="17" y="0"/>
                  <a:pt x="17" y="0"/>
                  <a:pt x="17" y="0"/>
                </a:cubicBezTo>
                <a:cubicBezTo>
                  <a:pt x="12" y="6"/>
                  <a:pt x="6" y="12"/>
                  <a:pt x="0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6" y="12"/>
                  <a:pt x="12" y="6"/>
                  <a:pt x="17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8" name="Freeform 53">
            <a:extLst>
              <a:ext uri="{FF2B5EF4-FFF2-40B4-BE49-F238E27FC236}">
                <a16:creationId xmlns:a16="http://schemas.microsoft.com/office/drawing/2014/main" id="{229C17DB-B468-4498-902B-5F157F991614}"/>
              </a:ext>
            </a:extLst>
          </p:cNvPr>
          <p:cNvSpPr>
            <a:spLocks noEditPoints="1"/>
          </p:cNvSpPr>
          <p:nvPr/>
        </p:nvSpPr>
        <p:spPr bwMode="auto">
          <a:xfrm>
            <a:off x="6826251" y="2638426"/>
            <a:ext cx="760413" cy="765175"/>
          </a:xfrm>
          <a:custGeom>
            <a:avLst/>
            <a:gdLst>
              <a:gd name="T0" fmla="*/ 0 w 156"/>
              <a:gd name="T1" fmla="*/ 156 h 157"/>
              <a:gd name="T2" fmla="*/ 0 w 156"/>
              <a:gd name="T3" fmla="*/ 156 h 157"/>
              <a:gd name="T4" fmla="*/ 0 w 156"/>
              <a:gd name="T5" fmla="*/ 155 h 157"/>
              <a:gd name="T6" fmla="*/ 0 w 156"/>
              <a:gd name="T7" fmla="*/ 155 h 157"/>
              <a:gd name="T8" fmla="*/ 0 w 156"/>
              <a:gd name="T9" fmla="*/ 154 h 157"/>
              <a:gd name="T10" fmla="*/ 0 w 156"/>
              <a:gd name="T11" fmla="*/ 154 h 157"/>
              <a:gd name="T12" fmla="*/ 0 w 156"/>
              <a:gd name="T13" fmla="*/ 153 h 157"/>
              <a:gd name="T14" fmla="*/ 0 w 156"/>
              <a:gd name="T15" fmla="*/ 153 h 157"/>
              <a:gd name="T16" fmla="*/ 0 w 156"/>
              <a:gd name="T17" fmla="*/ 152 h 157"/>
              <a:gd name="T18" fmla="*/ 0 w 156"/>
              <a:gd name="T19" fmla="*/ 152 h 157"/>
              <a:gd name="T20" fmla="*/ 0 w 156"/>
              <a:gd name="T21" fmla="*/ 151 h 157"/>
              <a:gd name="T22" fmla="*/ 0 w 156"/>
              <a:gd name="T23" fmla="*/ 151 h 157"/>
              <a:gd name="T24" fmla="*/ 0 w 156"/>
              <a:gd name="T25" fmla="*/ 150 h 157"/>
              <a:gd name="T26" fmla="*/ 0 w 156"/>
              <a:gd name="T27" fmla="*/ 150 h 157"/>
              <a:gd name="T28" fmla="*/ 0 w 156"/>
              <a:gd name="T29" fmla="*/ 149 h 157"/>
              <a:gd name="T30" fmla="*/ 0 w 156"/>
              <a:gd name="T31" fmla="*/ 149 h 157"/>
              <a:gd name="T32" fmla="*/ 0 w 156"/>
              <a:gd name="T33" fmla="*/ 149 h 157"/>
              <a:gd name="T34" fmla="*/ 0 w 156"/>
              <a:gd name="T35" fmla="*/ 148 h 157"/>
              <a:gd name="T36" fmla="*/ 0 w 156"/>
              <a:gd name="T37" fmla="*/ 148 h 157"/>
              <a:gd name="T38" fmla="*/ 0 w 156"/>
              <a:gd name="T39" fmla="*/ 147 h 157"/>
              <a:gd name="T40" fmla="*/ 0 w 156"/>
              <a:gd name="T41" fmla="*/ 147 h 157"/>
              <a:gd name="T42" fmla="*/ 0 w 156"/>
              <a:gd name="T43" fmla="*/ 146 h 157"/>
              <a:gd name="T44" fmla="*/ 0 w 156"/>
              <a:gd name="T45" fmla="*/ 146 h 157"/>
              <a:gd name="T46" fmla="*/ 0 w 156"/>
              <a:gd name="T47" fmla="*/ 145 h 157"/>
              <a:gd name="T48" fmla="*/ 0 w 156"/>
              <a:gd name="T49" fmla="*/ 145 h 157"/>
              <a:gd name="T50" fmla="*/ 0 w 156"/>
              <a:gd name="T51" fmla="*/ 144 h 157"/>
              <a:gd name="T52" fmla="*/ 0 w 156"/>
              <a:gd name="T53" fmla="*/ 143 h 157"/>
              <a:gd name="T54" fmla="*/ 156 w 156"/>
              <a:gd name="T55" fmla="*/ 0 h 157"/>
              <a:gd name="T56" fmla="*/ 155 w 156"/>
              <a:gd name="T57" fmla="*/ 0 h 157"/>
              <a:gd name="T58" fmla="*/ 155 w 156"/>
              <a:gd name="T59" fmla="*/ 0 h 157"/>
              <a:gd name="T60" fmla="*/ 154 w 156"/>
              <a:gd name="T61" fmla="*/ 0 h 157"/>
              <a:gd name="T62" fmla="*/ 154 w 156"/>
              <a:gd name="T63" fmla="*/ 0 h 157"/>
              <a:gd name="T64" fmla="*/ 153 w 156"/>
              <a:gd name="T65" fmla="*/ 0 h 157"/>
              <a:gd name="T66" fmla="*/ 153 w 156"/>
              <a:gd name="T67" fmla="*/ 0 h 157"/>
              <a:gd name="T68" fmla="*/ 142 w 156"/>
              <a:gd name="T69" fmla="*/ 0 h 157"/>
              <a:gd name="T70" fmla="*/ 143 w 156"/>
              <a:gd name="T71" fmla="*/ 0 h 157"/>
              <a:gd name="T72" fmla="*/ 152 w 156"/>
              <a:gd name="T73" fmla="*/ 0 h 157"/>
              <a:gd name="T74" fmla="*/ 152 w 156"/>
              <a:gd name="T75" fmla="*/ 0 h 157"/>
              <a:gd name="T76" fmla="*/ 151 w 156"/>
              <a:gd name="T77" fmla="*/ 0 h 157"/>
              <a:gd name="T78" fmla="*/ 144 w 156"/>
              <a:gd name="T79" fmla="*/ 0 h 157"/>
              <a:gd name="T80" fmla="*/ 144 w 156"/>
              <a:gd name="T81" fmla="*/ 0 h 157"/>
              <a:gd name="T82" fmla="*/ 150 w 156"/>
              <a:gd name="T83" fmla="*/ 0 h 157"/>
              <a:gd name="T84" fmla="*/ 145 w 156"/>
              <a:gd name="T85" fmla="*/ 0 h 157"/>
              <a:gd name="T86" fmla="*/ 145 w 156"/>
              <a:gd name="T87" fmla="*/ 0 h 157"/>
              <a:gd name="T88" fmla="*/ 150 w 156"/>
              <a:gd name="T89" fmla="*/ 0 h 157"/>
              <a:gd name="T90" fmla="*/ 145 w 156"/>
              <a:gd name="T91" fmla="*/ 0 h 157"/>
              <a:gd name="T92" fmla="*/ 145 w 156"/>
              <a:gd name="T93" fmla="*/ 0 h 157"/>
              <a:gd name="T94" fmla="*/ 149 w 156"/>
              <a:gd name="T95" fmla="*/ 0 h 157"/>
              <a:gd name="T96" fmla="*/ 146 w 156"/>
              <a:gd name="T97" fmla="*/ 0 h 157"/>
              <a:gd name="T98" fmla="*/ 146 w 156"/>
              <a:gd name="T99" fmla="*/ 0 h 157"/>
              <a:gd name="T100" fmla="*/ 148 w 156"/>
              <a:gd name="T101" fmla="*/ 0 h 157"/>
              <a:gd name="T102" fmla="*/ 147 w 156"/>
              <a:gd name="T103" fmla="*/ 0 h 157"/>
              <a:gd name="T104" fmla="*/ 147 w 156"/>
              <a:gd name="T105" fmla="*/ 0 h 157"/>
              <a:gd name="T106" fmla="*/ 147 w 156"/>
              <a:gd name="T107" fmla="*/ 0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6" h="157">
                <a:moveTo>
                  <a:pt x="0" y="157"/>
                </a:moveTo>
                <a:cubicBezTo>
                  <a:pt x="0" y="157"/>
                  <a:pt x="0" y="157"/>
                  <a:pt x="0" y="157"/>
                </a:cubicBezTo>
                <a:cubicBezTo>
                  <a:pt x="0" y="157"/>
                  <a:pt x="0" y="157"/>
                  <a:pt x="0" y="157"/>
                </a:cubicBezTo>
                <a:moveTo>
                  <a:pt x="0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moveTo>
                  <a:pt x="0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moveTo>
                  <a:pt x="0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moveTo>
                  <a:pt x="0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moveTo>
                  <a:pt x="0" y="155"/>
                </a:move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moveTo>
                  <a:pt x="0" y="155"/>
                </a:move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moveTo>
                  <a:pt x="0" y="155"/>
                </a:move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moveTo>
                  <a:pt x="0" y="155"/>
                </a:move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moveTo>
                  <a:pt x="0" y="154"/>
                </a:move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moveTo>
                  <a:pt x="0" y="154"/>
                </a:move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moveTo>
                  <a:pt x="0" y="154"/>
                </a:move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moveTo>
                  <a:pt x="0" y="154"/>
                </a:move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moveTo>
                  <a:pt x="0" y="153"/>
                </a:move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moveTo>
                  <a:pt x="0" y="153"/>
                </a:move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moveTo>
                  <a:pt x="0" y="153"/>
                </a:move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moveTo>
                  <a:pt x="0" y="153"/>
                </a:move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moveTo>
                  <a:pt x="0" y="152"/>
                </a:moveTo>
                <a:cubicBezTo>
                  <a:pt x="0" y="152"/>
                  <a:pt x="0" y="152"/>
                  <a:pt x="0" y="153"/>
                </a:cubicBezTo>
                <a:cubicBezTo>
                  <a:pt x="0" y="152"/>
                  <a:pt x="0" y="152"/>
                  <a:pt x="0" y="152"/>
                </a:cubicBezTo>
                <a:moveTo>
                  <a:pt x="0" y="152"/>
                </a:move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moveTo>
                  <a:pt x="0" y="152"/>
                </a:move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moveTo>
                  <a:pt x="0" y="152"/>
                </a:move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moveTo>
                  <a:pt x="0" y="151"/>
                </a:moveTo>
                <a:cubicBezTo>
                  <a:pt x="0" y="151"/>
                  <a:pt x="0" y="152"/>
                  <a:pt x="0" y="152"/>
                </a:cubicBezTo>
                <a:cubicBezTo>
                  <a:pt x="0" y="152"/>
                  <a:pt x="0" y="151"/>
                  <a:pt x="0" y="151"/>
                </a:cubicBezTo>
                <a:moveTo>
                  <a:pt x="0" y="151"/>
                </a:move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moveTo>
                  <a:pt x="0" y="151"/>
                </a:move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moveTo>
                  <a:pt x="0" y="151"/>
                </a:move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moveTo>
                  <a:pt x="0" y="150"/>
                </a:move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0"/>
                </a:cubicBezTo>
                <a:moveTo>
                  <a:pt x="0" y="150"/>
                </a:move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moveTo>
                  <a:pt x="0" y="150"/>
                </a:move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moveTo>
                  <a:pt x="0" y="150"/>
                </a:move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moveTo>
                  <a:pt x="0" y="149"/>
                </a:move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49"/>
                </a:cubicBezTo>
                <a:moveTo>
                  <a:pt x="0" y="149"/>
                </a:move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moveTo>
                  <a:pt x="0" y="149"/>
                </a:move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moveTo>
                  <a:pt x="0" y="149"/>
                </a:move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moveTo>
                  <a:pt x="0" y="149"/>
                </a:move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moveTo>
                  <a:pt x="0" y="148"/>
                </a:moveTo>
                <a:cubicBezTo>
                  <a:pt x="0" y="148"/>
                  <a:pt x="0" y="148"/>
                  <a:pt x="0" y="149"/>
                </a:cubicBezTo>
                <a:cubicBezTo>
                  <a:pt x="0" y="148"/>
                  <a:pt x="0" y="148"/>
                  <a:pt x="0" y="148"/>
                </a:cubicBezTo>
                <a:moveTo>
                  <a:pt x="0" y="148"/>
                </a:move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moveTo>
                  <a:pt x="0" y="148"/>
                </a:move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moveTo>
                  <a:pt x="0" y="148"/>
                </a:move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moveTo>
                  <a:pt x="0" y="147"/>
                </a:moveTo>
                <a:cubicBezTo>
                  <a:pt x="0" y="147"/>
                  <a:pt x="0" y="147"/>
                  <a:pt x="0" y="148"/>
                </a:cubicBezTo>
                <a:cubicBezTo>
                  <a:pt x="0" y="147"/>
                  <a:pt x="0" y="147"/>
                  <a:pt x="0" y="147"/>
                </a:cubicBezTo>
                <a:moveTo>
                  <a:pt x="0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moveTo>
                  <a:pt x="0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moveTo>
                  <a:pt x="0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moveTo>
                  <a:pt x="0" y="146"/>
                </a:moveTo>
                <a:cubicBezTo>
                  <a:pt x="0" y="146"/>
                  <a:pt x="0" y="147"/>
                  <a:pt x="0" y="147"/>
                </a:cubicBezTo>
                <a:cubicBezTo>
                  <a:pt x="0" y="147"/>
                  <a:pt x="0" y="146"/>
                  <a:pt x="0" y="146"/>
                </a:cubicBezTo>
                <a:moveTo>
                  <a:pt x="0" y="146"/>
                </a:move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moveTo>
                  <a:pt x="0" y="146"/>
                </a:move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moveTo>
                  <a:pt x="0" y="146"/>
                </a:move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moveTo>
                  <a:pt x="0" y="145"/>
                </a:move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5"/>
                </a:cubicBezTo>
                <a:moveTo>
                  <a:pt x="0" y="145"/>
                </a:move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moveTo>
                  <a:pt x="0" y="145"/>
                </a:move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moveTo>
                  <a:pt x="0" y="145"/>
                </a:move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moveTo>
                  <a:pt x="0" y="145"/>
                </a:move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moveTo>
                  <a:pt x="0" y="144"/>
                </a:move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4"/>
                </a:cubicBezTo>
                <a:moveTo>
                  <a:pt x="0" y="144"/>
                </a:move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4"/>
                </a:cubicBezTo>
                <a:moveTo>
                  <a:pt x="0" y="143"/>
                </a:move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moveTo>
                  <a:pt x="0" y="143"/>
                </a:move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moveTo>
                  <a:pt x="156" y="0"/>
                </a:moveTo>
                <a:cubicBezTo>
                  <a:pt x="156" y="0"/>
                  <a:pt x="156" y="0"/>
                  <a:pt x="156" y="0"/>
                </a:cubicBezTo>
                <a:cubicBezTo>
                  <a:pt x="156" y="0"/>
                  <a:pt x="156" y="0"/>
                  <a:pt x="156" y="0"/>
                </a:cubicBezTo>
                <a:moveTo>
                  <a:pt x="155" y="0"/>
                </a:move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moveTo>
                  <a:pt x="155" y="0"/>
                </a:move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moveTo>
                  <a:pt x="155" y="0"/>
                </a:move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moveTo>
                  <a:pt x="155" y="0"/>
                </a:move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moveTo>
                  <a:pt x="154" y="0"/>
                </a:move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moveTo>
                  <a:pt x="154" y="0"/>
                </a:move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moveTo>
                  <a:pt x="154" y="0"/>
                </a:move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moveTo>
                  <a:pt x="154" y="0"/>
                </a:move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moveTo>
                  <a:pt x="153" y="0"/>
                </a:move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moveTo>
                  <a:pt x="153" y="0"/>
                </a:move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moveTo>
                  <a:pt x="153" y="0"/>
                </a:move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moveTo>
                  <a:pt x="153" y="0"/>
                </a:move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moveTo>
                  <a:pt x="152" y="0"/>
                </a:moveTo>
                <a:cubicBezTo>
                  <a:pt x="152" y="0"/>
                  <a:pt x="153" y="0"/>
                  <a:pt x="153" y="0"/>
                </a:cubicBezTo>
                <a:cubicBezTo>
                  <a:pt x="153" y="0"/>
                  <a:pt x="152" y="0"/>
                  <a:pt x="152" y="0"/>
                </a:cubicBezTo>
                <a:moveTo>
                  <a:pt x="143" y="0"/>
                </a:moveTo>
                <a:cubicBezTo>
                  <a:pt x="143" y="0"/>
                  <a:pt x="142" y="0"/>
                  <a:pt x="142" y="0"/>
                </a:cubicBezTo>
                <a:cubicBezTo>
                  <a:pt x="143" y="0"/>
                  <a:pt x="143" y="0"/>
                  <a:pt x="143" y="0"/>
                </a:cubicBezTo>
                <a:moveTo>
                  <a:pt x="152" y="0"/>
                </a:move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moveTo>
                  <a:pt x="143" y="0"/>
                </a:move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moveTo>
                  <a:pt x="152" y="0"/>
                </a:move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moveTo>
                  <a:pt x="152" y="0"/>
                </a:move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moveTo>
                  <a:pt x="143" y="0"/>
                </a:move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moveTo>
                  <a:pt x="151" y="0"/>
                </a:move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1" y="0"/>
                </a:cubicBezTo>
                <a:moveTo>
                  <a:pt x="143" y="0"/>
                </a:move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moveTo>
                  <a:pt x="151" y="0"/>
                </a:move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moveTo>
                  <a:pt x="151" y="0"/>
                </a:move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moveTo>
                  <a:pt x="144" y="0"/>
                </a:move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moveTo>
                  <a:pt x="151" y="0"/>
                </a:move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moveTo>
                  <a:pt x="144" y="0"/>
                </a:move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moveTo>
                  <a:pt x="150" y="0"/>
                </a:move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0" y="0"/>
                </a:cubicBezTo>
                <a:moveTo>
                  <a:pt x="150" y="0"/>
                </a:move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moveTo>
                  <a:pt x="144" y="0"/>
                </a:move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moveTo>
                  <a:pt x="145" y="0"/>
                </a:move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moveTo>
                  <a:pt x="150" y="0"/>
                </a:move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moveTo>
                  <a:pt x="145" y="0"/>
                </a:move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moveTo>
                  <a:pt x="150" y="0"/>
                </a:move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moveTo>
                  <a:pt x="150" y="0"/>
                </a:move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moveTo>
                  <a:pt x="145" y="0"/>
                </a:move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moveTo>
                  <a:pt x="145" y="0"/>
                </a:move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moveTo>
                  <a:pt x="149" y="0"/>
                </a:move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moveTo>
                  <a:pt x="146" y="0"/>
                </a:moveTo>
                <a:cubicBezTo>
                  <a:pt x="146" y="0"/>
                  <a:pt x="146" y="0"/>
                  <a:pt x="145" y="0"/>
                </a:cubicBezTo>
                <a:cubicBezTo>
                  <a:pt x="146" y="0"/>
                  <a:pt x="146" y="0"/>
                  <a:pt x="146" y="0"/>
                </a:cubicBezTo>
                <a:moveTo>
                  <a:pt x="149" y="0"/>
                </a:move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moveTo>
                  <a:pt x="149" y="0"/>
                </a:move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moveTo>
                  <a:pt x="146" y="0"/>
                </a:move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moveTo>
                  <a:pt x="146" y="0"/>
                </a:move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moveTo>
                  <a:pt x="149" y="0"/>
                </a:move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moveTo>
                  <a:pt x="146" y="0"/>
                </a:move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moveTo>
                  <a:pt x="148" y="0"/>
                </a:moveTo>
                <a:cubicBezTo>
                  <a:pt x="148" y="0"/>
                  <a:pt x="148" y="0"/>
                  <a:pt x="149" y="0"/>
                </a:cubicBezTo>
                <a:cubicBezTo>
                  <a:pt x="148" y="0"/>
                  <a:pt x="148" y="0"/>
                  <a:pt x="148" y="0"/>
                </a:cubicBezTo>
                <a:moveTo>
                  <a:pt x="148" y="0"/>
                </a:move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moveTo>
                  <a:pt x="147" y="0"/>
                </a:moveTo>
                <a:cubicBezTo>
                  <a:pt x="147" y="0"/>
                  <a:pt x="147" y="0"/>
                  <a:pt x="146" y="0"/>
                </a:cubicBezTo>
                <a:cubicBezTo>
                  <a:pt x="147" y="0"/>
                  <a:pt x="147" y="0"/>
                  <a:pt x="147" y="0"/>
                </a:cubicBezTo>
                <a:moveTo>
                  <a:pt x="147" y="0"/>
                </a:move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moveTo>
                  <a:pt x="148" y="0"/>
                </a:move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moveTo>
                  <a:pt x="147" y="0"/>
                </a:move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moveTo>
                  <a:pt x="148" y="0"/>
                </a:move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moveTo>
                  <a:pt x="147" y="0"/>
                </a:move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8" y="0"/>
                  <a:pt x="148" y="0"/>
                </a:cubicBezTo>
                <a:cubicBezTo>
                  <a:pt x="148" y="0"/>
                  <a:pt x="147" y="0"/>
                  <a:pt x="147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9" name="Freeform 54">
            <a:extLst>
              <a:ext uri="{FF2B5EF4-FFF2-40B4-BE49-F238E27FC236}">
                <a16:creationId xmlns:a16="http://schemas.microsoft.com/office/drawing/2014/main" id="{06AA2A43-99A9-4CC3-A20A-D1E12FCEB8E6}"/>
              </a:ext>
            </a:extLst>
          </p:cNvPr>
          <p:cNvSpPr>
            <a:spLocks/>
          </p:cNvSpPr>
          <p:nvPr/>
        </p:nvSpPr>
        <p:spPr bwMode="auto">
          <a:xfrm>
            <a:off x="6826251" y="2638426"/>
            <a:ext cx="1311275" cy="1317625"/>
          </a:xfrm>
          <a:custGeom>
            <a:avLst/>
            <a:gdLst>
              <a:gd name="T0" fmla="*/ 147 w 269"/>
              <a:gd name="T1" fmla="*/ 0 h 270"/>
              <a:gd name="T2" fmla="*/ 146 w 269"/>
              <a:gd name="T3" fmla="*/ 0 h 270"/>
              <a:gd name="T4" fmla="*/ 146 w 269"/>
              <a:gd name="T5" fmla="*/ 0 h 270"/>
              <a:gd name="T6" fmla="*/ 145 w 269"/>
              <a:gd name="T7" fmla="*/ 0 h 270"/>
              <a:gd name="T8" fmla="*/ 145 w 269"/>
              <a:gd name="T9" fmla="*/ 0 h 270"/>
              <a:gd name="T10" fmla="*/ 145 w 269"/>
              <a:gd name="T11" fmla="*/ 0 h 270"/>
              <a:gd name="T12" fmla="*/ 144 w 269"/>
              <a:gd name="T13" fmla="*/ 0 h 270"/>
              <a:gd name="T14" fmla="*/ 143 w 269"/>
              <a:gd name="T15" fmla="*/ 0 h 270"/>
              <a:gd name="T16" fmla="*/ 143 w 269"/>
              <a:gd name="T17" fmla="*/ 0 h 270"/>
              <a:gd name="T18" fmla="*/ 112 w 269"/>
              <a:gd name="T19" fmla="*/ 5 h 270"/>
              <a:gd name="T20" fmla="*/ 4 w 269"/>
              <a:gd name="T21" fmla="*/ 113 h 270"/>
              <a:gd name="T22" fmla="*/ 0 w 269"/>
              <a:gd name="T23" fmla="*/ 143 h 270"/>
              <a:gd name="T24" fmla="*/ 0 w 269"/>
              <a:gd name="T25" fmla="*/ 144 h 270"/>
              <a:gd name="T26" fmla="*/ 0 w 269"/>
              <a:gd name="T27" fmla="*/ 145 h 270"/>
              <a:gd name="T28" fmla="*/ 0 w 269"/>
              <a:gd name="T29" fmla="*/ 145 h 270"/>
              <a:gd name="T30" fmla="*/ 0 w 269"/>
              <a:gd name="T31" fmla="*/ 146 h 270"/>
              <a:gd name="T32" fmla="*/ 0 w 269"/>
              <a:gd name="T33" fmla="*/ 146 h 270"/>
              <a:gd name="T34" fmla="*/ 0 w 269"/>
              <a:gd name="T35" fmla="*/ 147 h 270"/>
              <a:gd name="T36" fmla="*/ 0 w 269"/>
              <a:gd name="T37" fmla="*/ 147 h 270"/>
              <a:gd name="T38" fmla="*/ 0 w 269"/>
              <a:gd name="T39" fmla="*/ 148 h 270"/>
              <a:gd name="T40" fmla="*/ 0 w 269"/>
              <a:gd name="T41" fmla="*/ 148 h 270"/>
              <a:gd name="T42" fmla="*/ 0 w 269"/>
              <a:gd name="T43" fmla="*/ 149 h 270"/>
              <a:gd name="T44" fmla="*/ 0 w 269"/>
              <a:gd name="T45" fmla="*/ 149 h 270"/>
              <a:gd name="T46" fmla="*/ 0 w 269"/>
              <a:gd name="T47" fmla="*/ 150 h 270"/>
              <a:gd name="T48" fmla="*/ 0 w 269"/>
              <a:gd name="T49" fmla="*/ 150 h 270"/>
              <a:gd name="T50" fmla="*/ 0 w 269"/>
              <a:gd name="T51" fmla="*/ 151 h 270"/>
              <a:gd name="T52" fmla="*/ 0 w 269"/>
              <a:gd name="T53" fmla="*/ 151 h 270"/>
              <a:gd name="T54" fmla="*/ 0 w 269"/>
              <a:gd name="T55" fmla="*/ 152 h 270"/>
              <a:gd name="T56" fmla="*/ 0 w 269"/>
              <a:gd name="T57" fmla="*/ 152 h 270"/>
              <a:gd name="T58" fmla="*/ 0 w 269"/>
              <a:gd name="T59" fmla="*/ 153 h 270"/>
              <a:gd name="T60" fmla="*/ 0 w 269"/>
              <a:gd name="T61" fmla="*/ 153 h 270"/>
              <a:gd name="T62" fmla="*/ 0 w 269"/>
              <a:gd name="T63" fmla="*/ 153 h 270"/>
              <a:gd name="T64" fmla="*/ 0 w 269"/>
              <a:gd name="T65" fmla="*/ 154 h 270"/>
              <a:gd name="T66" fmla="*/ 0 w 269"/>
              <a:gd name="T67" fmla="*/ 154 h 270"/>
              <a:gd name="T68" fmla="*/ 0 w 269"/>
              <a:gd name="T69" fmla="*/ 155 h 270"/>
              <a:gd name="T70" fmla="*/ 0 w 269"/>
              <a:gd name="T71" fmla="*/ 155 h 270"/>
              <a:gd name="T72" fmla="*/ 0 w 269"/>
              <a:gd name="T73" fmla="*/ 156 h 270"/>
              <a:gd name="T74" fmla="*/ 0 w 269"/>
              <a:gd name="T75" fmla="*/ 156 h 270"/>
              <a:gd name="T76" fmla="*/ 38 w 269"/>
              <a:gd name="T77" fmla="*/ 187 h 270"/>
              <a:gd name="T78" fmla="*/ 156 w 269"/>
              <a:gd name="T79" fmla="*/ 0 h 270"/>
              <a:gd name="T80" fmla="*/ 155 w 269"/>
              <a:gd name="T81" fmla="*/ 0 h 270"/>
              <a:gd name="T82" fmla="*/ 155 w 269"/>
              <a:gd name="T83" fmla="*/ 0 h 270"/>
              <a:gd name="T84" fmla="*/ 154 w 269"/>
              <a:gd name="T85" fmla="*/ 0 h 270"/>
              <a:gd name="T86" fmla="*/ 154 w 269"/>
              <a:gd name="T87" fmla="*/ 0 h 270"/>
              <a:gd name="T88" fmla="*/ 153 w 269"/>
              <a:gd name="T89" fmla="*/ 0 h 270"/>
              <a:gd name="T90" fmla="*/ 153 w 269"/>
              <a:gd name="T91" fmla="*/ 0 h 270"/>
              <a:gd name="T92" fmla="*/ 152 w 269"/>
              <a:gd name="T93" fmla="*/ 0 h 270"/>
              <a:gd name="T94" fmla="*/ 152 w 269"/>
              <a:gd name="T95" fmla="*/ 0 h 270"/>
              <a:gd name="T96" fmla="*/ 151 w 269"/>
              <a:gd name="T97" fmla="*/ 0 h 270"/>
              <a:gd name="T98" fmla="*/ 151 w 269"/>
              <a:gd name="T99" fmla="*/ 0 h 270"/>
              <a:gd name="T100" fmla="*/ 150 w 269"/>
              <a:gd name="T101" fmla="*/ 0 h 270"/>
              <a:gd name="T102" fmla="*/ 150 w 269"/>
              <a:gd name="T103" fmla="*/ 0 h 270"/>
              <a:gd name="T104" fmla="*/ 149 w 269"/>
              <a:gd name="T105" fmla="*/ 0 h 270"/>
              <a:gd name="T106" fmla="*/ 149 w 269"/>
              <a:gd name="T107" fmla="*/ 0 h 270"/>
              <a:gd name="T108" fmla="*/ 148 w 269"/>
              <a:gd name="T109" fmla="*/ 0 h 270"/>
              <a:gd name="T110" fmla="*/ 148 w 269"/>
              <a:gd name="T111" fmla="*/ 0 h 270"/>
              <a:gd name="T112" fmla="*/ 147 w 269"/>
              <a:gd name="T113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69" h="270">
                <a:moveTo>
                  <a:pt x="147" y="0"/>
                </a:move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6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0"/>
                  <a:pt x="145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44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0"/>
                  <a:pt x="143" y="0"/>
                  <a:pt x="142" y="0"/>
                </a:cubicBezTo>
                <a:cubicBezTo>
                  <a:pt x="132" y="1"/>
                  <a:pt x="122" y="2"/>
                  <a:pt x="112" y="5"/>
                </a:cubicBezTo>
                <a:cubicBezTo>
                  <a:pt x="112" y="5"/>
                  <a:pt x="112" y="5"/>
                  <a:pt x="112" y="5"/>
                </a:cubicBezTo>
                <a:cubicBezTo>
                  <a:pt x="95" y="9"/>
                  <a:pt x="78" y="16"/>
                  <a:pt x="64" y="26"/>
                </a:cubicBezTo>
                <a:cubicBezTo>
                  <a:pt x="53" y="40"/>
                  <a:pt x="40" y="53"/>
                  <a:pt x="25" y="65"/>
                </a:cubicBezTo>
                <a:cubicBezTo>
                  <a:pt x="16" y="79"/>
                  <a:pt x="8" y="95"/>
                  <a:pt x="4" y="113"/>
                </a:cubicBezTo>
                <a:cubicBezTo>
                  <a:pt x="4" y="113"/>
                  <a:pt x="4" y="113"/>
                  <a:pt x="4" y="113"/>
                </a:cubicBezTo>
                <a:cubicBezTo>
                  <a:pt x="1" y="122"/>
                  <a:pt x="0" y="133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4"/>
                  <a:pt x="0" y="144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7"/>
                  <a:pt x="0" y="147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48"/>
                  <a:pt x="0" y="148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151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2"/>
                  <a:pt x="0" y="152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4"/>
                  <a:pt x="0" y="154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5"/>
                </a:cubicBezTo>
                <a:cubicBezTo>
                  <a:pt x="0" y="155"/>
                  <a:pt x="0" y="155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3" y="204"/>
                  <a:pt x="27" y="245"/>
                  <a:pt x="64" y="270"/>
                </a:cubicBezTo>
                <a:cubicBezTo>
                  <a:pt x="48" y="246"/>
                  <a:pt x="38" y="218"/>
                  <a:pt x="38" y="187"/>
                </a:cubicBezTo>
                <a:cubicBezTo>
                  <a:pt x="38" y="105"/>
                  <a:pt x="104" y="39"/>
                  <a:pt x="186" y="39"/>
                </a:cubicBezTo>
                <a:cubicBezTo>
                  <a:pt x="217" y="39"/>
                  <a:pt x="246" y="48"/>
                  <a:pt x="269" y="65"/>
                </a:cubicBezTo>
                <a:cubicBezTo>
                  <a:pt x="244" y="28"/>
                  <a:pt x="203" y="3"/>
                  <a:pt x="156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4" y="0"/>
                  <a:pt x="154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3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0"/>
                  <a:pt x="152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0"/>
                  <a:pt x="151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0"/>
                  <a:pt x="150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7" y="0"/>
                  <a:pt x="147" y="0"/>
                </a:cubicBezTo>
              </a:path>
            </a:pathLst>
          </a:custGeom>
          <a:solidFill>
            <a:srgbClr val="F046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0" name="Freeform 55">
            <a:extLst>
              <a:ext uri="{FF2B5EF4-FFF2-40B4-BE49-F238E27FC236}">
                <a16:creationId xmlns:a16="http://schemas.microsoft.com/office/drawing/2014/main" id="{8A143436-F795-4328-9A45-31098279DA33}"/>
              </a:ext>
            </a:extLst>
          </p:cNvPr>
          <p:cNvSpPr>
            <a:spLocks/>
          </p:cNvSpPr>
          <p:nvPr/>
        </p:nvSpPr>
        <p:spPr bwMode="auto">
          <a:xfrm>
            <a:off x="6946901" y="2765426"/>
            <a:ext cx="190500" cy="190500"/>
          </a:xfrm>
          <a:custGeom>
            <a:avLst/>
            <a:gdLst>
              <a:gd name="T0" fmla="*/ 39 w 39"/>
              <a:gd name="T1" fmla="*/ 0 h 39"/>
              <a:gd name="T2" fmla="*/ 39 w 39"/>
              <a:gd name="T3" fmla="*/ 0 h 39"/>
              <a:gd name="T4" fmla="*/ 0 w 39"/>
              <a:gd name="T5" fmla="*/ 39 h 39"/>
              <a:gd name="T6" fmla="*/ 0 w 39"/>
              <a:gd name="T7" fmla="*/ 39 h 39"/>
              <a:gd name="T8" fmla="*/ 0 w 39"/>
              <a:gd name="T9" fmla="*/ 39 h 39"/>
              <a:gd name="T10" fmla="*/ 0 w 39"/>
              <a:gd name="T11" fmla="*/ 39 h 39"/>
              <a:gd name="T12" fmla="*/ 0 w 39"/>
              <a:gd name="T13" fmla="*/ 39 h 39"/>
              <a:gd name="T14" fmla="*/ 0 w 39"/>
              <a:gd name="T15" fmla="*/ 39 h 39"/>
              <a:gd name="T16" fmla="*/ 39 w 39"/>
              <a:gd name="T17" fmla="*/ 0 h 39"/>
              <a:gd name="T18" fmla="*/ 39 w 39"/>
              <a:gd name="T19" fmla="*/ 0 h 39"/>
              <a:gd name="T20" fmla="*/ 39 w 39"/>
              <a:gd name="T2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9" h="39">
                <a:moveTo>
                  <a:pt x="39" y="0"/>
                </a:moveTo>
                <a:cubicBezTo>
                  <a:pt x="39" y="0"/>
                  <a:pt x="39" y="0"/>
                  <a:pt x="39" y="0"/>
                </a:cubicBezTo>
                <a:cubicBezTo>
                  <a:pt x="28" y="14"/>
                  <a:pt x="15" y="27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15" y="27"/>
                  <a:pt x="28" y="14"/>
                  <a:pt x="39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9" y="0"/>
                  <a:pt x="39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1" name="Freeform 56">
            <a:extLst>
              <a:ext uri="{FF2B5EF4-FFF2-40B4-BE49-F238E27FC236}">
                <a16:creationId xmlns:a16="http://schemas.microsoft.com/office/drawing/2014/main" id="{CB657E40-E056-4396-9B4E-65B883BEF8A7}"/>
              </a:ext>
            </a:extLst>
          </p:cNvPr>
          <p:cNvSpPr>
            <a:spLocks/>
          </p:cNvSpPr>
          <p:nvPr/>
        </p:nvSpPr>
        <p:spPr bwMode="auto">
          <a:xfrm>
            <a:off x="7264401" y="2403476"/>
            <a:ext cx="204788" cy="166688"/>
          </a:xfrm>
          <a:custGeom>
            <a:avLst/>
            <a:gdLst>
              <a:gd name="T0" fmla="*/ 42 w 42"/>
              <a:gd name="T1" fmla="*/ 0 h 34"/>
              <a:gd name="T2" fmla="*/ 13 w 42"/>
              <a:gd name="T3" fmla="*/ 4 h 34"/>
              <a:gd name="T4" fmla="*/ 0 w 42"/>
              <a:gd name="T5" fmla="*/ 34 h 34"/>
              <a:gd name="T6" fmla="*/ 34 w 42"/>
              <a:gd name="T7" fmla="*/ 26 h 34"/>
              <a:gd name="T8" fmla="*/ 42 w 42"/>
              <a:gd name="T9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34">
                <a:moveTo>
                  <a:pt x="42" y="0"/>
                </a:moveTo>
                <a:cubicBezTo>
                  <a:pt x="32" y="0"/>
                  <a:pt x="23" y="2"/>
                  <a:pt x="13" y="4"/>
                </a:cubicBezTo>
                <a:cubicBezTo>
                  <a:pt x="10" y="14"/>
                  <a:pt x="5" y="24"/>
                  <a:pt x="0" y="34"/>
                </a:cubicBezTo>
                <a:cubicBezTo>
                  <a:pt x="11" y="30"/>
                  <a:pt x="22" y="27"/>
                  <a:pt x="34" y="26"/>
                </a:cubicBezTo>
                <a:cubicBezTo>
                  <a:pt x="37" y="17"/>
                  <a:pt x="39" y="9"/>
                  <a:pt x="42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2" name="Freeform 57">
            <a:extLst>
              <a:ext uri="{FF2B5EF4-FFF2-40B4-BE49-F238E27FC236}">
                <a16:creationId xmlns:a16="http://schemas.microsoft.com/office/drawing/2014/main" id="{B2A9F305-4F1A-4E3F-A0BE-EDCF9DA06194}"/>
              </a:ext>
            </a:extLst>
          </p:cNvPr>
          <p:cNvSpPr>
            <a:spLocks/>
          </p:cNvSpPr>
          <p:nvPr/>
        </p:nvSpPr>
        <p:spPr bwMode="auto">
          <a:xfrm>
            <a:off x="7137401" y="2530476"/>
            <a:ext cx="293688" cy="234950"/>
          </a:xfrm>
          <a:custGeom>
            <a:avLst/>
            <a:gdLst>
              <a:gd name="T0" fmla="*/ 60 w 60"/>
              <a:gd name="T1" fmla="*/ 0 h 48"/>
              <a:gd name="T2" fmla="*/ 26 w 60"/>
              <a:gd name="T3" fmla="*/ 8 h 48"/>
              <a:gd name="T4" fmla="*/ 0 w 60"/>
              <a:gd name="T5" fmla="*/ 48 h 48"/>
              <a:gd name="T6" fmla="*/ 48 w 60"/>
              <a:gd name="T7" fmla="*/ 27 h 48"/>
              <a:gd name="T8" fmla="*/ 60 w 60"/>
              <a:gd name="T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48">
                <a:moveTo>
                  <a:pt x="60" y="0"/>
                </a:moveTo>
                <a:cubicBezTo>
                  <a:pt x="48" y="1"/>
                  <a:pt x="37" y="4"/>
                  <a:pt x="26" y="8"/>
                </a:cubicBezTo>
                <a:cubicBezTo>
                  <a:pt x="19" y="22"/>
                  <a:pt x="10" y="35"/>
                  <a:pt x="0" y="48"/>
                </a:cubicBezTo>
                <a:cubicBezTo>
                  <a:pt x="14" y="38"/>
                  <a:pt x="31" y="31"/>
                  <a:pt x="48" y="27"/>
                </a:cubicBezTo>
                <a:cubicBezTo>
                  <a:pt x="52" y="18"/>
                  <a:pt x="56" y="9"/>
                  <a:pt x="60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3" name="Freeform 58">
            <a:extLst>
              <a:ext uri="{FF2B5EF4-FFF2-40B4-BE49-F238E27FC236}">
                <a16:creationId xmlns:a16="http://schemas.microsoft.com/office/drawing/2014/main" id="{1053995B-F520-4B87-958E-B8FAF8B1096B}"/>
              </a:ext>
            </a:extLst>
          </p:cNvPr>
          <p:cNvSpPr>
            <a:spLocks/>
          </p:cNvSpPr>
          <p:nvPr/>
        </p:nvSpPr>
        <p:spPr bwMode="auto">
          <a:xfrm>
            <a:off x="7137401" y="2662238"/>
            <a:ext cx="234950" cy="103188"/>
          </a:xfrm>
          <a:custGeom>
            <a:avLst/>
            <a:gdLst>
              <a:gd name="T0" fmla="*/ 48 w 48"/>
              <a:gd name="T1" fmla="*/ 0 h 21"/>
              <a:gd name="T2" fmla="*/ 0 w 48"/>
              <a:gd name="T3" fmla="*/ 21 h 21"/>
              <a:gd name="T4" fmla="*/ 0 w 48"/>
              <a:gd name="T5" fmla="*/ 21 h 21"/>
              <a:gd name="T6" fmla="*/ 48 w 48"/>
              <a:gd name="T7" fmla="*/ 0 h 21"/>
              <a:gd name="T8" fmla="*/ 48 w 48"/>
              <a:gd name="T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21">
                <a:moveTo>
                  <a:pt x="48" y="0"/>
                </a:moveTo>
                <a:cubicBezTo>
                  <a:pt x="31" y="4"/>
                  <a:pt x="14" y="11"/>
                  <a:pt x="0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14" y="11"/>
                  <a:pt x="31" y="4"/>
                  <a:pt x="48" y="0"/>
                </a:cubicBezTo>
                <a:cubicBezTo>
                  <a:pt x="48" y="0"/>
                  <a:pt x="48" y="0"/>
                  <a:pt x="48" y="0"/>
                </a:cubicBezTo>
              </a:path>
            </a:pathLst>
          </a:custGeom>
          <a:solidFill>
            <a:srgbClr val="A958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4" name="Freeform 59">
            <a:extLst>
              <a:ext uri="{FF2B5EF4-FFF2-40B4-BE49-F238E27FC236}">
                <a16:creationId xmlns:a16="http://schemas.microsoft.com/office/drawing/2014/main" id="{E7491728-42C2-4099-A3B3-B87BFD357CC6}"/>
              </a:ext>
            </a:extLst>
          </p:cNvPr>
          <p:cNvSpPr>
            <a:spLocks/>
          </p:cNvSpPr>
          <p:nvPr/>
        </p:nvSpPr>
        <p:spPr bwMode="auto">
          <a:xfrm>
            <a:off x="7137401" y="2424113"/>
            <a:ext cx="190500" cy="341313"/>
          </a:xfrm>
          <a:custGeom>
            <a:avLst/>
            <a:gdLst>
              <a:gd name="T0" fmla="*/ 39 w 39"/>
              <a:gd name="T1" fmla="*/ 0 h 70"/>
              <a:gd name="T2" fmla="*/ 39 w 39"/>
              <a:gd name="T3" fmla="*/ 0 h 70"/>
              <a:gd name="T4" fmla="*/ 0 w 39"/>
              <a:gd name="T5" fmla="*/ 70 h 70"/>
              <a:gd name="T6" fmla="*/ 0 w 39"/>
              <a:gd name="T7" fmla="*/ 70 h 70"/>
              <a:gd name="T8" fmla="*/ 0 w 39"/>
              <a:gd name="T9" fmla="*/ 70 h 70"/>
              <a:gd name="T10" fmla="*/ 26 w 39"/>
              <a:gd name="T11" fmla="*/ 30 h 70"/>
              <a:gd name="T12" fmla="*/ 39 w 39"/>
              <a:gd name="T13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9" h="70">
                <a:moveTo>
                  <a:pt x="39" y="0"/>
                </a:moveTo>
                <a:cubicBezTo>
                  <a:pt x="39" y="0"/>
                  <a:pt x="39" y="0"/>
                  <a:pt x="39" y="0"/>
                </a:cubicBezTo>
                <a:cubicBezTo>
                  <a:pt x="30" y="26"/>
                  <a:pt x="17" y="49"/>
                  <a:pt x="0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0" y="57"/>
                  <a:pt x="19" y="44"/>
                  <a:pt x="26" y="30"/>
                </a:cubicBezTo>
                <a:cubicBezTo>
                  <a:pt x="31" y="20"/>
                  <a:pt x="36" y="10"/>
                  <a:pt x="39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5" name="Freeform 60">
            <a:extLst>
              <a:ext uri="{FF2B5EF4-FFF2-40B4-BE49-F238E27FC236}">
                <a16:creationId xmlns:a16="http://schemas.microsoft.com/office/drawing/2014/main" id="{1FDA1890-4A21-4E31-918B-A117EF4CB41F}"/>
              </a:ext>
            </a:extLst>
          </p:cNvPr>
          <p:cNvSpPr>
            <a:spLocks/>
          </p:cNvSpPr>
          <p:nvPr/>
        </p:nvSpPr>
        <p:spPr bwMode="auto">
          <a:xfrm>
            <a:off x="7137401" y="2662238"/>
            <a:ext cx="234950" cy="103188"/>
          </a:xfrm>
          <a:custGeom>
            <a:avLst/>
            <a:gdLst>
              <a:gd name="T0" fmla="*/ 48 w 48"/>
              <a:gd name="T1" fmla="*/ 0 h 21"/>
              <a:gd name="T2" fmla="*/ 0 w 48"/>
              <a:gd name="T3" fmla="*/ 21 h 21"/>
              <a:gd name="T4" fmla="*/ 0 w 48"/>
              <a:gd name="T5" fmla="*/ 21 h 21"/>
              <a:gd name="T6" fmla="*/ 48 w 48"/>
              <a:gd name="T7" fmla="*/ 0 h 21"/>
              <a:gd name="T8" fmla="*/ 48 w 48"/>
              <a:gd name="T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21">
                <a:moveTo>
                  <a:pt x="48" y="0"/>
                </a:moveTo>
                <a:cubicBezTo>
                  <a:pt x="31" y="4"/>
                  <a:pt x="14" y="11"/>
                  <a:pt x="0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14" y="11"/>
                  <a:pt x="31" y="4"/>
                  <a:pt x="48" y="0"/>
                </a:cubicBezTo>
                <a:cubicBezTo>
                  <a:pt x="48" y="0"/>
                  <a:pt x="48" y="0"/>
                  <a:pt x="48" y="0"/>
                </a:cubicBezTo>
              </a:path>
            </a:pathLst>
          </a:custGeom>
          <a:solidFill>
            <a:srgbClr val="894D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6" name="Oval 61">
            <a:extLst>
              <a:ext uri="{FF2B5EF4-FFF2-40B4-BE49-F238E27FC236}">
                <a16:creationId xmlns:a16="http://schemas.microsoft.com/office/drawing/2014/main" id="{3FB7962F-3B2A-48BB-BA14-1D1A111C9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7401" y="2765426"/>
            <a:ext cx="1588" cy="1588"/>
          </a:xfrm>
          <a:prstGeom prst="ellipse">
            <a:avLst/>
          </a:prstGeom>
          <a:solidFill>
            <a:srgbClr val="97A7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7" name="Freeform 62">
            <a:extLst>
              <a:ext uri="{FF2B5EF4-FFF2-40B4-BE49-F238E27FC236}">
                <a16:creationId xmlns:a16="http://schemas.microsoft.com/office/drawing/2014/main" id="{3BB6D7B9-DFB5-4F4E-8BA7-64FC26E31E3C}"/>
              </a:ext>
            </a:extLst>
          </p:cNvPr>
          <p:cNvSpPr>
            <a:spLocks/>
          </p:cNvSpPr>
          <p:nvPr/>
        </p:nvSpPr>
        <p:spPr bwMode="auto">
          <a:xfrm>
            <a:off x="6586538" y="3082926"/>
            <a:ext cx="166688" cy="200025"/>
          </a:xfrm>
          <a:custGeom>
            <a:avLst/>
            <a:gdLst>
              <a:gd name="T0" fmla="*/ 34 w 34"/>
              <a:gd name="T1" fmla="*/ 0 h 41"/>
              <a:gd name="T2" fmla="*/ 4 w 34"/>
              <a:gd name="T3" fmla="*/ 13 h 41"/>
              <a:gd name="T4" fmla="*/ 0 w 34"/>
              <a:gd name="T5" fmla="*/ 41 h 41"/>
              <a:gd name="T6" fmla="*/ 26 w 34"/>
              <a:gd name="T7" fmla="*/ 33 h 41"/>
              <a:gd name="T8" fmla="*/ 34 w 34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41">
                <a:moveTo>
                  <a:pt x="34" y="0"/>
                </a:moveTo>
                <a:cubicBezTo>
                  <a:pt x="25" y="5"/>
                  <a:pt x="15" y="9"/>
                  <a:pt x="4" y="13"/>
                </a:cubicBezTo>
                <a:cubicBezTo>
                  <a:pt x="2" y="22"/>
                  <a:pt x="1" y="32"/>
                  <a:pt x="0" y="41"/>
                </a:cubicBezTo>
                <a:cubicBezTo>
                  <a:pt x="9" y="39"/>
                  <a:pt x="18" y="36"/>
                  <a:pt x="26" y="33"/>
                </a:cubicBezTo>
                <a:cubicBezTo>
                  <a:pt x="28" y="22"/>
                  <a:pt x="31" y="11"/>
                  <a:pt x="34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8" name="Freeform 63">
            <a:extLst>
              <a:ext uri="{FF2B5EF4-FFF2-40B4-BE49-F238E27FC236}">
                <a16:creationId xmlns:a16="http://schemas.microsoft.com/office/drawing/2014/main" id="{67962EB8-AD4E-4D41-B85C-2435BA9DDCA5}"/>
              </a:ext>
            </a:extLst>
          </p:cNvPr>
          <p:cNvSpPr>
            <a:spLocks/>
          </p:cNvSpPr>
          <p:nvPr/>
        </p:nvSpPr>
        <p:spPr bwMode="auto">
          <a:xfrm>
            <a:off x="6713538" y="2955926"/>
            <a:ext cx="233363" cy="287338"/>
          </a:xfrm>
          <a:custGeom>
            <a:avLst/>
            <a:gdLst>
              <a:gd name="T0" fmla="*/ 48 w 48"/>
              <a:gd name="T1" fmla="*/ 0 h 59"/>
              <a:gd name="T2" fmla="*/ 8 w 48"/>
              <a:gd name="T3" fmla="*/ 26 h 59"/>
              <a:gd name="T4" fmla="*/ 0 w 48"/>
              <a:gd name="T5" fmla="*/ 59 h 59"/>
              <a:gd name="T6" fmla="*/ 27 w 48"/>
              <a:gd name="T7" fmla="*/ 48 h 59"/>
              <a:gd name="T8" fmla="*/ 48 w 48"/>
              <a:gd name="T9" fmla="*/ 0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59">
                <a:moveTo>
                  <a:pt x="48" y="0"/>
                </a:moveTo>
                <a:cubicBezTo>
                  <a:pt x="36" y="10"/>
                  <a:pt x="22" y="18"/>
                  <a:pt x="8" y="26"/>
                </a:cubicBezTo>
                <a:cubicBezTo>
                  <a:pt x="5" y="37"/>
                  <a:pt x="2" y="48"/>
                  <a:pt x="0" y="59"/>
                </a:cubicBezTo>
                <a:cubicBezTo>
                  <a:pt x="9" y="56"/>
                  <a:pt x="18" y="52"/>
                  <a:pt x="27" y="48"/>
                </a:cubicBezTo>
                <a:cubicBezTo>
                  <a:pt x="31" y="30"/>
                  <a:pt x="38" y="14"/>
                  <a:pt x="48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9" name="Freeform 64">
            <a:extLst>
              <a:ext uri="{FF2B5EF4-FFF2-40B4-BE49-F238E27FC236}">
                <a16:creationId xmlns:a16="http://schemas.microsoft.com/office/drawing/2014/main" id="{75DB4720-CFA4-4380-A6FF-95AFBC0AAEF7}"/>
              </a:ext>
            </a:extLst>
          </p:cNvPr>
          <p:cNvSpPr>
            <a:spLocks/>
          </p:cNvSpPr>
          <p:nvPr/>
        </p:nvSpPr>
        <p:spPr bwMode="auto">
          <a:xfrm>
            <a:off x="6845301" y="2955926"/>
            <a:ext cx="101600" cy="233363"/>
          </a:xfrm>
          <a:custGeom>
            <a:avLst/>
            <a:gdLst>
              <a:gd name="T0" fmla="*/ 21 w 21"/>
              <a:gd name="T1" fmla="*/ 0 h 48"/>
              <a:gd name="T2" fmla="*/ 21 w 21"/>
              <a:gd name="T3" fmla="*/ 0 h 48"/>
              <a:gd name="T4" fmla="*/ 0 w 21"/>
              <a:gd name="T5" fmla="*/ 48 h 48"/>
              <a:gd name="T6" fmla="*/ 0 w 21"/>
              <a:gd name="T7" fmla="*/ 48 h 48"/>
              <a:gd name="T8" fmla="*/ 21 w 21"/>
              <a:gd name="T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" h="48">
                <a:moveTo>
                  <a:pt x="21" y="0"/>
                </a:moveTo>
                <a:cubicBezTo>
                  <a:pt x="21" y="0"/>
                  <a:pt x="21" y="0"/>
                  <a:pt x="21" y="0"/>
                </a:cubicBezTo>
                <a:cubicBezTo>
                  <a:pt x="11" y="14"/>
                  <a:pt x="4" y="30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4" y="30"/>
                  <a:pt x="11" y="14"/>
                  <a:pt x="21" y="0"/>
                </a:cubicBezTo>
              </a:path>
            </a:pathLst>
          </a:custGeom>
          <a:solidFill>
            <a:srgbClr val="A958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0" name="Freeform 65">
            <a:extLst>
              <a:ext uri="{FF2B5EF4-FFF2-40B4-BE49-F238E27FC236}">
                <a16:creationId xmlns:a16="http://schemas.microsoft.com/office/drawing/2014/main" id="{73F98B99-B462-4406-B385-A26D2B38BD60}"/>
              </a:ext>
            </a:extLst>
          </p:cNvPr>
          <p:cNvSpPr>
            <a:spLocks/>
          </p:cNvSpPr>
          <p:nvPr/>
        </p:nvSpPr>
        <p:spPr bwMode="auto">
          <a:xfrm>
            <a:off x="6605588" y="2955926"/>
            <a:ext cx="341313" cy="190500"/>
          </a:xfrm>
          <a:custGeom>
            <a:avLst/>
            <a:gdLst>
              <a:gd name="T0" fmla="*/ 70 w 70"/>
              <a:gd name="T1" fmla="*/ 0 h 39"/>
              <a:gd name="T2" fmla="*/ 0 w 70"/>
              <a:gd name="T3" fmla="*/ 39 h 39"/>
              <a:gd name="T4" fmla="*/ 0 w 70"/>
              <a:gd name="T5" fmla="*/ 39 h 39"/>
              <a:gd name="T6" fmla="*/ 30 w 70"/>
              <a:gd name="T7" fmla="*/ 26 h 39"/>
              <a:gd name="T8" fmla="*/ 70 w 70"/>
              <a:gd name="T9" fmla="*/ 0 h 39"/>
              <a:gd name="T10" fmla="*/ 70 w 70"/>
              <a:gd name="T11" fmla="*/ 0 h 39"/>
              <a:gd name="T12" fmla="*/ 70 w 70"/>
              <a:gd name="T13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" h="39">
                <a:moveTo>
                  <a:pt x="70" y="0"/>
                </a:moveTo>
                <a:cubicBezTo>
                  <a:pt x="49" y="16"/>
                  <a:pt x="26" y="30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35"/>
                  <a:pt x="21" y="31"/>
                  <a:pt x="30" y="26"/>
                </a:cubicBezTo>
                <a:cubicBezTo>
                  <a:pt x="44" y="18"/>
                  <a:pt x="58" y="1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0" y="0"/>
                  <a:pt x="70" y="0"/>
                  <a:pt x="70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1" name="Freeform 66">
            <a:extLst>
              <a:ext uri="{FF2B5EF4-FFF2-40B4-BE49-F238E27FC236}">
                <a16:creationId xmlns:a16="http://schemas.microsoft.com/office/drawing/2014/main" id="{FDBC611E-8967-4546-84E1-3E2CA1198906}"/>
              </a:ext>
            </a:extLst>
          </p:cNvPr>
          <p:cNvSpPr>
            <a:spLocks/>
          </p:cNvSpPr>
          <p:nvPr/>
        </p:nvSpPr>
        <p:spPr bwMode="auto">
          <a:xfrm>
            <a:off x="6845301" y="2955926"/>
            <a:ext cx="101600" cy="233363"/>
          </a:xfrm>
          <a:custGeom>
            <a:avLst/>
            <a:gdLst>
              <a:gd name="T0" fmla="*/ 21 w 21"/>
              <a:gd name="T1" fmla="*/ 0 h 48"/>
              <a:gd name="T2" fmla="*/ 21 w 21"/>
              <a:gd name="T3" fmla="*/ 0 h 48"/>
              <a:gd name="T4" fmla="*/ 0 w 21"/>
              <a:gd name="T5" fmla="*/ 48 h 48"/>
              <a:gd name="T6" fmla="*/ 0 w 21"/>
              <a:gd name="T7" fmla="*/ 48 h 48"/>
              <a:gd name="T8" fmla="*/ 21 w 21"/>
              <a:gd name="T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" h="48">
                <a:moveTo>
                  <a:pt x="21" y="0"/>
                </a:moveTo>
                <a:cubicBezTo>
                  <a:pt x="21" y="0"/>
                  <a:pt x="21" y="0"/>
                  <a:pt x="21" y="0"/>
                </a:cubicBezTo>
                <a:cubicBezTo>
                  <a:pt x="11" y="14"/>
                  <a:pt x="4" y="30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4" y="30"/>
                  <a:pt x="12" y="14"/>
                  <a:pt x="21" y="0"/>
                </a:cubicBezTo>
              </a:path>
            </a:pathLst>
          </a:custGeom>
          <a:solidFill>
            <a:srgbClr val="894D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2" name="Oval 67">
            <a:extLst>
              <a:ext uri="{FF2B5EF4-FFF2-40B4-BE49-F238E27FC236}">
                <a16:creationId xmlns:a16="http://schemas.microsoft.com/office/drawing/2014/main" id="{659217A4-FE75-4941-8834-4E687EE4E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901" y="2955926"/>
            <a:ext cx="1588" cy="1588"/>
          </a:xfrm>
          <a:prstGeom prst="ellipse">
            <a:avLst/>
          </a:prstGeom>
          <a:solidFill>
            <a:srgbClr val="97A7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3" name="Freeform 68">
            <a:extLst>
              <a:ext uri="{FF2B5EF4-FFF2-40B4-BE49-F238E27FC236}">
                <a16:creationId xmlns:a16="http://schemas.microsoft.com/office/drawing/2014/main" id="{549CB4FE-E4EE-4D0B-A004-26BE968956EC}"/>
              </a:ext>
            </a:extLst>
          </p:cNvPr>
          <p:cNvSpPr>
            <a:spLocks noEditPoints="1"/>
          </p:cNvSpPr>
          <p:nvPr/>
        </p:nvSpPr>
        <p:spPr bwMode="auto">
          <a:xfrm>
            <a:off x="8469313" y="3683001"/>
            <a:ext cx="122238" cy="14288"/>
          </a:xfrm>
          <a:custGeom>
            <a:avLst/>
            <a:gdLst>
              <a:gd name="T0" fmla="*/ 0 w 25"/>
              <a:gd name="T1" fmla="*/ 3 h 3"/>
              <a:gd name="T2" fmla="*/ 0 w 25"/>
              <a:gd name="T3" fmla="*/ 3 h 3"/>
              <a:gd name="T4" fmla="*/ 0 w 25"/>
              <a:gd name="T5" fmla="*/ 3 h 3"/>
              <a:gd name="T6" fmla="*/ 0 w 25"/>
              <a:gd name="T7" fmla="*/ 3 h 3"/>
              <a:gd name="T8" fmla="*/ 0 w 25"/>
              <a:gd name="T9" fmla="*/ 3 h 3"/>
              <a:gd name="T10" fmla="*/ 0 w 25"/>
              <a:gd name="T11" fmla="*/ 3 h 3"/>
              <a:gd name="T12" fmla="*/ 1 w 25"/>
              <a:gd name="T13" fmla="*/ 3 h 3"/>
              <a:gd name="T14" fmla="*/ 0 w 25"/>
              <a:gd name="T15" fmla="*/ 3 h 3"/>
              <a:gd name="T16" fmla="*/ 1 w 25"/>
              <a:gd name="T17" fmla="*/ 3 h 3"/>
              <a:gd name="T18" fmla="*/ 25 w 25"/>
              <a:gd name="T19" fmla="*/ 0 h 3"/>
              <a:gd name="T20" fmla="*/ 1 w 25"/>
              <a:gd name="T21" fmla="*/ 3 h 3"/>
              <a:gd name="T22" fmla="*/ 25 w 25"/>
              <a:gd name="T23" fmla="*/ 0 h 3"/>
              <a:gd name="T24" fmla="*/ 25 w 25"/>
              <a:gd name="T2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" h="3">
                <a:moveTo>
                  <a:pt x="0" y="3"/>
                </a:moveTo>
                <a:cubicBezTo>
                  <a:pt x="0" y="3"/>
                  <a:pt x="0" y="3"/>
                  <a:pt x="0" y="3"/>
                </a:cubicBezTo>
                <a:cubicBezTo>
                  <a:pt x="0" y="3"/>
                  <a:pt x="0" y="3"/>
                  <a:pt x="0" y="3"/>
                </a:cubicBezTo>
                <a:moveTo>
                  <a:pt x="0" y="3"/>
                </a:moveTo>
                <a:cubicBezTo>
                  <a:pt x="0" y="3"/>
                  <a:pt x="0" y="3"/>
                  <a:pt x="0" y="3"/>
                </a:cubicBezTo>
                <a:cubicBezTo>
                  <a:pt x="0" y="3"/>
                  <a:pt x="0" y="3"/>
                  <a:pt x="0" y="3"/>
                </a:cubicBezTo>
                <a:moveTo>
                  <a:pt x="1" y="3"/>
                </a:moveTo>
                <a:cubicBezTo>
                  <a:pt x="1" y="3"/>
                  <a:pt x="0" y="3"/>
                  <a:pt x="0" y="3"/>
                </a:cubicBezTo>
                <a:cubicBezTo>
                  <a:pt x="0" y="3"/>
                  <a:pt x="1" y="3"/>
                  <a:pt x="1" y="3"/>
                </a:cubicBezTo>
                <a:moveTo>
                  <a:pt x="25" y="0"/>
                </a:moveTo>
                <a:cubicBezTo>
                  <a:pt x="17" y="0"/>
                  <a:pt x="9" y="1"/>
                  <a:pt x="1" y="3"/>
                </a:cubicBezTo>
                <a:cubicBezTo>
                  <a:pt x="9" y="1"/>
                  <a:pt x="17" y="0"/>
                  <a:pt x="25" y="0"/>
                </a:cubicBezTo>
                <a:cubicBezTo>
                  <a:pt x="25" y="0"/>
                  <a:pt x="25" y="0"/>
                  <a:pt x="25" y="0"/>
                </a:cubicBezTo>
              </a:path>
            </a:pathLst>
          </a:custGeom>
          <a:solidFill>
            <a:srgbClr val="97A7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4" name="Freeform 69">
            <a:extLst>
              <a:ext uri="{FF2B5EF4-FFF2-40B4-BE49-F238E27FC236}">
                <a16:creationId xmlns:a16="http://schemas.microsoft.com/office/drawing/2014/main" id="{E04C314E-13FD-4303-AE83-773D0EC01AB9}"/>
              </a:ext>
            </a:extLst>
          </p:cNvPr>
          <p:cNvSpPr>
            <a:spLocks noEditPoints="1"/>
          </p:cNvSpPr>
          <p:nvPr/>
        </p:nvSpPr>
        <p:spPr bwMode="auto">
          <a:xfrm>
            <a:off x="7864476" y="3683001"/>
            <a:ext cx="727075" cy="727075"/>
          </a:xfrm>
          <a:custGeom>
            <a:avLst/>
            <a:gdLst>
              <a:gd name="T0" fmla="*/ 30 w 149"/>
              <a:gd name="T1" fmla="*/ 106 h 149"/>
              <a:gd name="T2" fmla="*/ 5 w 149"/>
              <a:gd name="T3" fmla="*/ 118 h 149"/>
              <a:gd name="T4" fmla="*/ 0 w 149"/>
              <a:gd name="T5" fmla="*/ 149 h 149"/>
              <a:gd name="T6" fmla="*/ 21 w 149"/>
              <a:gd name="T7" fmla="*/ 143 h 149"/>
              <a:gd name="T8" fmla="*/ 30 w 149"/>
              <a:gd name="T9" fmla="*/ 106 h 149"/>
              <a:gd name="T10" fmla="*/ 149 w 149"/>
              <a:gd name="T11" fmla="*/ 0 h 149"/>
              <a:gd name="T12" fmla="*/ 125 w 149"/>
              <a:gd name="T13" fmla="*/ 3 h 149"/>
              <a:gd name="T14" fmla="*/ 125 w 149"/>
              <a:gd name="T15" fmla="*/ 3 h 149"/>
              <a:gd name="T16" fmla="*/ 124 w 149"/>
              <a:gd name="T17" fmla="*/ 3 h 149"/>
              <a:gd name="T18" fmla="*/ 124 w 149"/>
              <a:gd name="T19" fmla="*/ 3 h 149"/>
              <a:gd name="T20" fmla="*/ 124 w 149"/>
              <a:gd name="T21" fmla="*/ 3 h 149"/>
              <a:gd name="T22" fmla="*/ 124 w 149"/>
              <a:gd name="T23" fmla="*/ 3 h 149"/>
              <a:gd name="T24" fmla="*/ 124 w 149"/>
              <a:gd name="T25" fmla="*/ 3 h 149"/>
              <a:gd name="T26" fmla="*/ 118 w 149"/>
              <a:gd name="T27" fmla="*/ 5 h 149"/>
              <a:gd name="T28" fmla="*/ 107 w 149"/>
              <a:gd name="T29" fmla="*/ 29 h 149"/>
              <a:gd name="T30" fmla="*/ 143 w 149"/>
              <a:gd name="T31" fmla="*/ 20 h 149"/>
              <a:gd name="T32" fmla="*/ 149 w 149"/>
              <a:gd name="T33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9" h="149">
                <a:moveTo>
                  <a:pt x="30" y="106"/>
                </a:moveTo>
                <a:cubicBezTo>
                  <a:pt x="22" y="111"/>
                  <a:pt x="13" y="115"/>
                  <a:pt x="5" y="118"/>
                </a:cubicBezTo>
                <a:cubicBezTo>
                  <a:pt x="2" y="128"/>
                  <a:pt x="1" y="138"/>
                  <a:pt x="0" y="149"/>
                </a:cubicBezTo>
                <a:cubicBezTo>
                  <a:pt x="7" y="147"/>
                  <a:pt x="14" y="145"/>
                  <a:pt x="21" y="143"/>
                </a:cubicBezTo>
                <a:cubicBezTo>
                  <a:pt x="22" y="130"/>
                  <a:pt x="25" y="118"/>
                  <a:pt x="30" y="106"/>
                </a:cubicBezTo>
                <a:moveTo>
                  <a:pt x="149" y="0"/>
                </a:moveTo>
                <a:cubicBezTo>
                  <a:pt x="141" y="0"/>
                  <a:pt x="133" y="1"/>
                  <a:pt x="125" y="3"/>
                </a:cubicBezTo>
                <a:cubicBezTo>
                  <a:pt x="125" y="3"/>
                  <a:pt x="125" y="3"/>
                  <a:pt x="125" y="3"/>
                </a:cubicBezTo>
                <a:cubicBezTo>
                  <a:pt x="125" y="3"/>
                  <a:pt x="124" y="3"/>
                  <a:pt x="124" y="3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3"/>
                  <a:pt x="124" y="3"/>
                  <a:pt x="124" y="3"/>
                </a:cubicBezTo>
                <a:cubicBezTo>
                  <a:pt x="122" y="4"/>
                  <a:pt x="120" y="4"/>
                  <a:pt x="118" y="5"/>
                </a:cubicBezTo>
                <a:cubicBezTo>
                  <a:pt x="115" y="13"/>
                  <a:pt x="111" y="21"/>
                  <a:pt x="107" y="29"/>
                </a:cubicBezTo>
                <a:cubicBezTo>
                  <a:pt x="118" y="25"/>
                  <a:pt x="131" y="22"/>
                  <a:pt x="143" y="20"/>
                </a:cubicBezTo>
                <a:cubicBezTo>
                  <a:pt x="146" y="14"/>
                  <a:pt x="148" y="7"/>
                  <a:pt x="149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5" name="Freeform 70">
            <a:extLst>
              <a:ext uri="{FF2B5EF4-FFF2-40B4-BE49-F238E27FC236}">
                <a16:creationId xmlns:a16="http://schemas.microsoft.com/office/drawing/2014/main" id="{C0DBD2BA-E0A3-47A8-96B1-B62B7A24DB4B}"/>
              </a:ext>
            </a:extLst>
          </p:cNvPr>
          <p:cNvSpPr>
            <a:spLocks/>
          </p:cNvSpPr>
          <p:nvPr/>
        </p:nvSpPr>
        <p:spPr bwMode="auto">
          <a:xfrm>
            <a:off x="7967663" y="3779838"/>
            <a:ext cx="595313" cy="600075"/>
          </a:xfrm>
          <a:custGeom>
            <a:avLst/>
            <a:gdLst>
              <a:gd name="T0" fmla="*/ 122 w 122"/>
              <a:gd name="T1" fmla="*/ 0 h 123"/>
              <a:gd name="T2" fmla="*/ 86 w 122"/>
              <a:gd name="T3" fmla="*/ 9 h 123"/>
              <a:gd name="T4" fmla="*/ 9 w 122"/>
              <a:gd name="T5" fmla="*/ 86 h 123"/>
              <a:gd name="T6" fmla="*/ 0 w 122"/>
              <a:gd name="T7" fmla="*/ 123 h 123"/>
              <a:gd name="T8" fmla="*/ 20 w 122"/>
              <a:gd name="T9" fmla="*/ 115 h 123"/>
              <a:gd name="T10" fmla="*/ 114 w 122"/>
              <a:gd name="T11" fmla="*/ 21 h 123"/>
              <a:gd name="T12" fmla="*/ 122 w 122"/>
              <a:gd name="T1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" h="123">
                <a:moveTo>
                  <a:pt x="122" y="0"/>
                </a:moveTo>
                <a:cubicBezTo>
                  <a:pt x="110" y="2"/>
                  <a:pt x="97" y="5"/>
                  <a:pt x="86" y="9"/>
                </a:cubicBezTo>
                <a:cubicBezTo>
                  <a:pt x="68" y="42"/>
                  <a:pt x="41" y="69"/>
                  <a:pt x="9" y="86"/>
                </a:cubicBezTo>
                <a:cubicBezTo>
                  <a:pt x="4" y="98"/>
                  <a:pt x="1" y="110"/>
                  <a:pt x="0" y="123"/>
                </a:cubicBezTo>
                <a:cubicBezTo>
                  <a:pt x="7" y="121"/>
                  <a:pt x="14" y="118"/>
                  <a:pt x="20" y="115"/>
                </a:cubicBezTo>
                <a:cubicBezTo>
                  <a:pt x="30" y="67"/>
                  <a:pt x="67" y="30"/>
                  <a:pt x="114" y="21"/>
                </a:cubicBezTo>
                <a:cubicBezTo>
                  <a:pt x="117" y="14"/>
                  <a:pt x="120" y="8"/>
                  <a:pt x="122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6" name="Freeform 71">
            <a:extLst>
              <a:ext uri="{FF2B5EF4-FFF2-40B4-BE49-F238E27FC236}">
                <a16:creationId xmlns:a16="http://schemas.microsoft.com/office/drawing/2014/main" id="{21EE475D-411A-44DC-95FF-E2D89B6266F6}"/>
              </a:ext>
            </a:extLst>
          </p:cNvPr>
          <p:cNvSpPr>
            <a:spLocks/>
          </p:cNvSpPr>
          <p:nvPr/>
        </p:nvSpPr>
        <p:spPr bwMode="auto">
          <a:xfrm>
            <a:off x="7889876" y="3706813"/>
            <a:ext cx="550863" cy="550863"/>
          </a:xfrm>
          <a:custGeom>
            <a:avLst/>
            <a:gdLst>
              <a:gd name="T0" fmla="*/ 113 w 113"/>
              <a:gd name="T1" fmla="*/ 0 h 113"/>
              <a:gd name="T2" fmla="*/ 113 w 113"/>
              <a:gd name="T3" fmla="*/ 0 h 113"/>
              <a:gd name="T4" fmla="*/ 0 w 113"/>
              <a:gd name="T5" fmla="*/ 113 h 113"/>
              <a:gd name="T6" fmla="*/ 0 w 113"/>
              <a:gd name="T7" fmla="*/ 113 h 113"/>
              <a:gd name="T8" fmla="*/ 25 w 113"/>
              <a:gd name="T9" fmla="*/ 101 h 113"/>
              <a:gd name="T10" fmla="*/ 102 w 113"/>
              <a:gd name="T11" fmla="*/ 24 h 113"/>
              <a:gd name="T12" fmla="*/ 113 w 113"/>
              <a:gd name="T13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3" h="113">
                <a:moveTo>
                  <a:pt x="113" y="0"/>
                </a:moveTo>
                <a:cubicBezTo>
                  <a:pt x="113" y="0"/>
                  <a:pt x="113" y="0"/>
                  <a:pt x="113" y="0"/>
                </a:cubicBezTo>
                <a:cubicBezTo>
                  <a:pt x="93" y="52"/>
                  <a:pt x="52" y="93"/>
                  <a:pt x="0" y="113"/>
                </a:cubicBezTo>
                <a:cubicBezTo>
                  <a:pt x="0" y="113"/>
                  <a:pt x="0" y="113"/>
                  <a:pt x="0" y="113"/>
                </a:cubicBezTo>
                <a:cubicBezTo>
                  <a:pt x="8" y="110"/>
                  <a:pt x="17" y="106"/>
                  <a:pt x="25" y="101"/>
                </a:cubicBezTo>
                <a:cubicBezTo>
                  <a:pt x="57" y="84"/>
                  <a:pt x="84" y="57"/>
                  <a:pt x="102" y="24"/>
                </a:cubicBezTo>
                <a:cubicBezTo>
                  <a:pt x="106" y="16"/>
                  <a:pt x="110" y="8"/>
                  <a:pt x="113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7" name="Freeform 72">
            <a:extLst>
              <a:ext uri="{FF2B5EF4-FFF2-40B4-BE49-F238E27FC236}">
                <a16:creationId xmlns:a16="http://schemas.microsoft.com/office/drawing/2014/main" id="{24CF822E-69DC-4A96-960F-013B23BAA3F5}"/>
              </a:ext>
            </a:extLst>
          </p:cNvPr>
          <p:cNvSpPr>
            <a:spLocks/>
          </p:cNvSpPr>
          <p:nvPr/>
        </p:nvSpPr>
        <p:spPr bwMode="auto">
          <a:xfrm>
            <a:off x="8064501" y="3883026"/>
            <a:ext cx="458788" cy="458788"/>
          </a:xfrm>
          <a:custGeom>
            <a:avLst/>
            <a:gdLst>
              <a:gd name="T0" fmla="*/ 94 w 94"/>
              <a:gd name="T1" fmla="*/ 0 h 94"/>
              <a:gd name="T2" fmla="*/ 0 w 94"/>
              <a:gd name="T3" fmla="*/ 94 h 94"/>
              <a:gd name="T4" fmla="*/ 0 w 94"/>
              <a:gd name="T5" fmla="*/ 94 h 94"/>
              <a:gd name="T6" fmla="*/ 94 w 94"/>
              <a:gd name="T7" fmla="*/ 0 h 94"/>
              <a:gd name="T8" fmla="*/ 94 w 94"/>
              <a:gd name="T9" fmla="*/ 0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4" h="94">
                <a:moveTo>
                  <a:pt x="94" y="0"/>
                </a:moveTo>
                <a:cubicBezTo>
                  <a:pt x="47" y="9"/>
                  <a:pt x="10" y="46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10" y="46"/>
                  <a:pt x="47" y="9"/>
                  <a:pt x="94" y="0"/>
                </a:cubicBezTo>
                <a:cubicBezTo>
                  <a:pt x="94" y="0"/>
                  <a:pt x="94" y="0"/>
                  <a:pt x="94" y="0"/>
                </a:cubicBezTo>
              </a:path>
            </a:pathLst>
          </a:custGeom>
          <a:solidFill>
            <a:srgbClr val="2D38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8" name="Freeform 73">
            <a:extLst>
              <a:ext uri="{FF2B5EF4-FFF2-40B4-BE49-F238E27FC236}">
                <a16:creationId xmlns:a16="http://schemas.microsoft.com/office/drawing/2014/main" id="{37FCF3E7-9D98-47BC-8B90-4B9D8A17504F}"/>
              </a:ext>
            </a:extLst>
          </p:cNvPr>
          <p:cNvSpPr>
            <a:spLocks/>
          </p:cNvSpPr>
          <p:nvPr/>
        </p:nvSpPr>
        <p:spPr bwMode="auto">
          <a:xfrm>
            <a:off x="9313863" y="4702176"/>
            <a:ext cx="161925" cy="112713"/>
          </a:xfrm>
          <a:custGeom>
            <a:avLst/>
            <a:gdLst>
              <a:gd name="T0" fmla="*/ 33 w 33"/>
              <a:gd name="T1" fmla="*/ 0 h 23"/>
              <a:gd name="T2" fmla="*/ 8 w 33"/>
              <a:gd name="T3" fmla="*/ 3 h 23"/>
              <a:gd name="T4" fmla="*/ 0 w 33"/>
              <a:gd name="T5" fmla="*/ 23 h 23"/>
              <a:gd name="T6" fmla="*/ 28 w 33"/>
              <a:gd name="T7" fmla="*/ 16 h 23"/>
              <a:gd name="T8" fmla="*/ 33 w 33"/>
              <a:gd name="T9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23">
                <a:moveTo>
                  <a:pt x="33" y="0"/>
                </a:moveTo>
                <a:cubicBezTo>
                  <a:pt x="24" y="0"/>
                  <a:pt x="16" y="1"/>
                  <a:pt x="8" y="3"/>
                </a:cubicBezTo>
                <a:cubicBezTo>
                  <a:pt x="6" y="10"/>
                  <a:pt x="3" y="16"/>
                  <a:pt x="0" y="23"/>
                </a:cubicBezTo>
                <a:cubicBezTo>
                  <a:pt x="9" y="19"/>
                  <a:pt x="18" y="17"/>
                  <a:pt x="28" y="16"/>
                </a:cubicBezTo>
                <a:cubicBezTo>
                  <a:pt x="30" y="11"/>
                  <a:pt x="31" y="5"/>
                  <a:pt x="33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9" name="Freeform 74">
            <a:extLst>
              <a:ext uri="{FF2B5EF4-FFF2-40B4-BE49-F238E27FC236}">
                <a16:creationId xmlns:a16="http://schemas.microsoft.com/office/drawing/2014/main" id="{03906E18-0429-4171-8646-BB32818DCB27}"/>
              </a:ext>
            </a:extLst>
          </p:cNvPr>
          <p:cNvSpPr>
            <a:spLocks/>
          </p:cNvSpPr>
          <p:nvPr/>
        </p:nvSpPr>
        <p:spPr bwMode="auto">
          <a:xfrm>
            <a:off x="9217026" y="4779963"/>
            <a:ext cx="233363" cy="171450"/>
          </a:xfrm>
          <a:custGeom>
            <a:avLst/>
            <a:gdLst>
              <a:gd name="T0" fmla="*/ 48 w 48"/>
              <a:gd name="T1" fmla="*/ 0 h 35"/>
              <a:gd name="T2" fmla="*/ 20 w 48"/>
              <a:gd name="T3" fmla="*/ 7 h 35"/>
              <a:gd name="T4" fmla="*/ 0 w 48"/>
              <a:gd name="T5" fmla="*/ 35 h 35"/>
              <a:gd name="T6" fmla="*/ 42 w 48"/>
              <a:gd name="T7" fmla="*/ 17 h 35"/>
              <a:gd name="T8" fmla="*/ 48 w 48"/>
              <a:gd name="T9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35">
                <a:moveTo>
                  <a:pt x="48" y="0"/>
                </a:moveTo>
                <a:cubicBezTo>
                  <a:pt x="38" y="1"/>
                  <a:pt x="29" y="3"/>
                  <a:pt x="20" y="7"/>
                </a:cubicBezTo>
                <a:cubicBezTo>
                  <a:pt x="14" y="17"/>
                  <a:pt x="8" y="26"/>
                  <a:pt x="0" y="35"/>
                </a:cubicBezTo>
                <a:cubicBezTo>
                  <a:pt x="12" y="26"/>
                  <a:pt x="26" y="19"/>
                  <a:pt x="42" y="17"/>
                </a:cubicBezTo>
                <a:cubicBezTo>
                  <a:pt x="44" y="11"/>
                  <a:pt x="46" y="6"/>
                  <a:pt x="48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0" name="Freeform 75">
            <a:extLst>
              <a:ext uri="{FF2B5EF4-FFF2-40B4-BE49-F238E27FC236}">
                <a16:creationId xmlns:a16="http://schemas.microsoft.com/office/drawing/2014/main" id="{E66E6820-6ECE-4089-AC62-249164BD372D}"/>
              </a:ext>
            </a:extLst>
          </p:cNvPr>
          <p:cNvSpPr>
            <a:spLocks/>
          </p:cNvSpPr>
          <p:nvPr/>
        </p:nvSpPr>
        <p:spPr bwMode="auto">
          <a:xfrm>
            <a:off x="9217026" y="4864101"/>
            <a:ext cx="204788" cy="87313"/>
          </a:xfrm>
          <a:custGeom>
            <a:avLst/>
            <a:gdLst>
              <a:gd name="T0" fmla="*/ 42 w 42"/>
              <a:gd name="T1" fmla="*/ 0 h 18"/>
              <a:gd name="T2" fmla="*/ 0 w 42"/>
              <a:gd name="T3" fmla="*/ 18 h 18"/>
              <a:gd name="T4" fmla="*/ 0 w 42"/>
              <a:gd name="T5" fmla="*/ 18 h 18"/>
              <a:gd name="T6" fmla="*/ 42 w 42"/>
              <a:gd name="T7" fmla="*/ 0 h 18"/>
              <a:gd name="T8" fmla="*/ 42 w 42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18">
                <a:moveTo>
                  <a:pt x="42" y="0"/>
                </a:moveTo>
                <a:cubicBezTo>
                  <a:pt x="26" y="2"/>
                  <a:pt x="12" y="9"/>
                  <a:pt x="0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12" y="9"/>
                  <a:pt x="26" y="2"/>
                  <a:pt x="42" y="0"/>
                </a:cubicBezTo>
                <a:cubicBezTo>
                  <a:pt x="42" y="0"/>
                  <a:pt x="42" y="0"/>
                  <a:pt x="42" y="0"/>
                </a:cubicBezTo>
              </a:path>
            </a:pathLst>
          </a:custGeom>
          <a:solidFill>
            <a:srgbClr val="37869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1" name="Freeform 76">
            <a:extLst>
              <a:ext uri="{FF2B5EF4-FFF2-40B4-BE49-F238E27FC236}">
                <a16:creationId xmlns:a16="http://schemas.microsoft.com/office/drawing/2014/main" id="{EA6291C0-A884-4B7E-9A19-D2CB191EEBFF}"/>
              </a:ext>
            </a:extLst>
          </p:cNvPr>
          <p:cNvSpPr>
            <a:spLocks/>
          </p:cNvSpPr>
          <p:nvPr/>
        </p:nvSpPr>
        <p:spPr bwMode="auto">
          <a:xfrm>
            <a:off x="9217026" y="4716463"/>
            <a:ext cx="136525" cy="234950"/>
          </a:xfrm>
          <a:custGeom>
            <a:avLst/>
            <a:gdLst>
              <a:gd name="T0" fmla="*/ 28 w 28"/>
              <a:gd name="T1" fmla="*/ 0 h 48"/>
              <a:gd name="T2" fmla="*/ 28 w 28"/>
              <a:gd name="T3" fmla="*/ 0 h 48"/>
              <a:gd name="T4" fmla="*/ 0 w 28"/>
              <a:gd name="T5" fmla="*/ 48 h 48"/>
              <a:gd name="T6" fmla="*/ 0 w 28"/>
              <a:gd name="T7" fmla="*/ 48 h 48"/>
              <a:gd name="T8" fmla="*/ 0 w 28"/>
              <a:gd name="T9" fmla="*/ 48 h 48"/>
              <a:gd name="T10" fmla="*/ 0 w 28"/>
              <a:gd name="T11" fmla="*/ 48 h 48"/>
              <a:gd name="T12" fmla="*/ 0 w 28"/>
              <a:gd name="T13" fmla="*/ 48 h 48"/>
              <a:gd name="T14" fmla="*/ 20 w 28"/>
              <a:gd name="T15" fmla="*/ 20 h 48"/>
              <a:gd name="T16" fmla="*/ 28 w 28"/>
              <a:gd name="T17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48">
                <a:moveTo>
                  <a:pt x="28" y="0"/>
                </a:moveTo>
                <a:cubicBezTo>
                  <a:pt x="28" y="0"/>
                  <a:pt x="28" y="0"/>
                  <a:pt x="28" y="0"/>
                </a:cubicBezTo>
                <a:cubicBezTo>
                  <a:pt x="22" y="18"/>
                  <a:pt x="12" y="34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8" y="39"/>
                  <a:pt x="14" y="30"/>
                  <a:pt x="20" y="20"/>
                </a:cubicBezTo>
                <a:cubicBezTo>
                  <a:pt x="23" y="13"/>
                  <a:pt x="26" y="7"/>
                  <a:pt x="28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2" name="Freeform 77">
            <a:extLst>
              <a:ext uri="{FF2B5EF4-FFF2-40B4-BE49-F238E27FC236}">
                <a16:creationId xmlns:a16="http://schemas.microsoft.com/office/drawing/2014/main" id="{78FA6126-D1AB-4FF4-A6D1-9330DCE3C9CF}"/>
              </a:ext>
            </a:extLst>
          </p:cNvPr>
          <p:cNvSpPr>
            <a:spLocks/>
          </p:cNvSpPr>
          <p:nvPr/>
        </p:nvSpPr>
        <p:spPr bwMode="auto">
          <a:xfrm>
            <a:off x="9217026" y="4864101"/>
            <a:ext cx="204788" cy="87313"/>
          </a:xfrm>
          <a:custGeom>
            <a:avLst/>
            <a:gdLst>
              <a:gd name="T0" fmla="*/ 42 w 42"/>
              <a:gd name="T1" fmla="*/ 0 h 18"/>
              <a:gd name="T2" fmla="*/ 0 w 42"/>
              <a:gd name="T3" fmla="*/ 18 h 18"/>
              <a:gd name="T4" fmla="*/ 0 w 42"/>
              <a:gd name="T5" fmla="*/ 18 h 18"/>
              <a:gd name="T6" fmla="*/ 42 w 42"/>
              <a:gd name="T7" fmla="*/ 0 h 18"/>
              <a:gd name="T8" fmla="*/ 42 w 42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18">
                <a:moveTo>
                  <a:pt x="42" y="0"/>
                </a:moveTo>
                <a:cubicBezTo>
                  <a:pt x="26" y="2"/>
                  <a:pt x="12" y="9"/>
                  <a:pt x="0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12" y="9"/>
                  <a:pt x="26" y="2"/>
                  <a:pt x="42" y="0"/>
                </a:cubicBezTo>
                <a:cubicBezTo>
                  <a:pt x="42" y="0"/>
                  <a:pt x="42" y="0"/>
                  <a:pt x="42" y="0"/>
                </a:cubicBezTo>
              </a:path>
            </a:pathLst>
          </a:custGeom>
          <a:solidFill>
            <a:srgbClr val="2575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3" name="Oval 78">
            <a:extLst>
              <a:ext uri="{FF2B5EF4-FFF2-40B4-BE49-F238E27FC236}">
                <a16:creationId xmlns:a16="http://schemas.microsoft.com/office/drawing/2014/main" id="{6DABF013-62A4-4683-860B-537F62938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7026" y="4951413"/>
            <a:ext cx="1588" cy="1588"/>
          </a:xfrm>
          <a:prstGeom prst="ellipse">
            <a:avLst/>
          </a:prstGeom>
          <a:solidFill>
            <a:srgbClr val="97A7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4" name="Freeform 79">
            <a:extLst>
              <a:ext uri="{FF2B5EF4-FFF2-40B4-BE49-F238E27FC236}">
                <a16:creationId xmlns:a16="http://schemas.microsoft.com/office/drawing/2014/main" id="{02E88BDF-3A53-48ED-ACCA-D700B8C15F22}"/>
              </a:ext>
            </a:extLst>
          </p:cNvPr>
          <p:cNvSpPr>
            <a:spLocks/>
          </p:cNvSpPr>
          <p:nvPr/>
        </p:nvSpPr>
        <p:spPr bwMode="auto">
          <a:xfrm>
            <a:off x="8885238" y="5127626"/>
            <a:ext cx="111125" cy="160338"/>
          </a:xfrm>
          <a:custGeom>
            <a:avLst/>
            <a:gdLst>
              <a:gd name="T0" fmla="*/ 23 w 23"/>
              <a:gd name="T1" fmla="*/ 0 h 33"/>
              <a:gd name="T2" fmla="*/ 3 w 23"/>
              <a:gd name="T3" fmla="*/ 9 h 33"/>
              <a:gd name="T4" fmla="*/ 0 w 23"/>
              <a:gd name="T5" fmla="*/ 33 h 33"/>
              <a:gd name="T6" fmla="*/ 16 w 23"/>
              <a:gd name="T7" fmla="*/ 29 h 33"/>
              <a:gd name="T8" fmla="*/ 23 w 23"/>
              <a:gd name="T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33">
                <a:moveTo>
                  <a:pt x="23" y="0"/>
                </a:moveTo>
                <a:cubicBezTo>
                  <a:pt x="17" y="4"/>
                  <a:pt x="10" y="7"/>
                  <a:pt x="3" y="9"/>
                </a:cubicBezTo>
                <a:cubicBezTo>
                  <a:pt x="2" y="17"/>
                  <a:pt x="0" y="25"/>
                  <a:pt x="0" y="33"/>
                </a:cubicBezTo>
                <a:cubicBezTo>
                  <a:pt x="6" y="32"/>
                  <a:pt x="11" y="31"/>
                  <a:pt x="16" y="29"/>
                </a:cubicBezTo>
                <a:cubicBezTo>
                  <a:pt x="17" y="19"/>
                  <a:pt x="20" y="9"/>
                  <a:pt x="23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5" name="Freeform 80">
            <a:extLst>
              <a:ext uri="{FF2B5EF4-FFF2-40B4-BE49-F238E27FC236}">
                <a16:creationId xmlns:a16="http://schemas.microsoft.com/office/drawing/2014/main" id="{4A07AE3C-1F20-4D5F-B9F9-881B186ECCED}"/>
              </a:ext>
            </a:extLst>
          </p:cNvPr>
          <p:cNvSpPr>
            <a:spLocks/>
          </p:cNvSpPr>
          <p:nvPr/>
        </p:nvSpPr>
        <p:spPr bwMode="auto">
          <a:xfrm>
            <a:off x="8963026" y="5033963"/>
            <a:ext cx="169863" cy="234950"/>
          </a:xfrm>
          <a:custGeom>
            <a:avLst/>
            <a:gdLst>
              <a:gd name="T0" fmla="*/ 35 w 35"/>
              <a:gd name="T1" fmla="*/ 0 h 48"/>
              <a:gd name="T2" fmla="*/ 7 w 35"/>
              <a:gd name="T3" fmla="*/ 19 h 48"/>
              <a:gd name="T4" fmla="*/ 0 w 35"/>
              <a:gd name="T5" fmla="*/ 48 h 48"/>
              <a:gd name="T6" fmla="*/ 17 w 35"/>
              <a:gd name="T7" fmla="*/ 41 h 48"/>
              <a:gd name="T8" fmla="*/ 35 w 35"/>
              <a:gd name="T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48">
                <a:moveTo>
                  <a:pt x="35" y="0"/>
                </a:moveTo>
                <a:cubicBezTo>
                  <a:pt x="26" y="7"/>
                  <a:pt x="17" y="14"/>
                  <a:pt x="7" y="19"/>
                </a:cubicBezTo>
                <a:cubicBezTo>
                  <a:pt x="4" y="28"/>
                  <a:pt x="1" y="38"/>
                  <a:pt x="0" y="48"/>
                </a:cubicBezTo>
                <a:cubicBezTo>
                  <a:pt x="6" y="46"/>
                  <a:pt x="12" y="44"/>
                  <a:pt x="17" y="41"/>
                </a:cubicBezTo>
                <a:cubicBezTo>
                  <a:pt x="20" y="26"/>
                  <a:pt x="26" y="12"/>
                  <a:pt x="35" y="0"/>
                </a:cubicBezTo>
              </a:path>
            </a:pathLst>
          </a:custGeom>
          <a:solidFill>
            <a:srgbClr val="B0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6" name="Freeform 81">
            <a:extLst>
              <a:ext uri="{FF2B5EF4-FFF2-40B4-BE49-F238E27FC236}">
                <a16:creationId xmlns:a16="http://schemas.microsoft.com/office/drawing/2014/main" id="{8733F5C4-F347-4F01-9D96-763BB92C8824}"/>
              </a:ext>
            </a:extLst>
          </p:cNvPr>
          <p:cNvSpPr>
            <a:spLocks/>
          </p:cNvSpPr>
          <p:nvPr/>
        </p:nvSpPr>
        <p:spPr bwMode="auto">
          <a:xfrm>
            <a:off x="9045576" y="5033963"/>
            <a:ext cx="87313" cy="200025"/>
          </a:xfrm>
          <a:custGeom>
            <a:avLst/>
            <a:gdLst>
              <a:gd name="T0" fmla="*/ 18 w 18"/>
              <a:gd name="T1" fmla="*/ 0 h 41"/>
              <a:gd name="T2" fmla="*/ 18 w 18"/>
              <a:gd name="T3" fmla="*/ 0 h 41"/>
              <a:gd name="T4" fmla="*/ 0 w 18"/>
              <a:gd name="T5" fmla="*/ 41 h 41"/>
              <a:gd name="T6" fmla="*/ 0 w 18"/>
              <a:gd name="T7" fmla="*/ 41 h 41"/>
              <a:gd name="T8" fmla="*/ 18 w 18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41">
                <a:moveTo>
                  <a:pt x="18" y="0"/>
                </a:moveTo>
                <a:cubicBezTo>
                  <a:pt x="18" y="0"/>
                  <a:pt x="18" y="0"/>
                  <a:pt x="18" y="0"/>
                </a:cubicBezTo>
                <a:cubicBezTo>
                  <a:pt x="9" y="12"/>
                  <a:pt x="3" y="26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3" y="26"/>
                  <a:pt x="9" y="12"/>
                  <a:pt x="18" y="0"/>
                </a:cubicBezTo>
              </a:path>
            </a:pathLst>
          </a:custGeom>
          <a:solidFill>
            <a:srgbClr val="37869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7" name="Freeform 82">
            <a:extLst>
              <a:ext uri="{FF2B5EF4-FFF2-40B4-BE49-F238E27FC236}">
                <a16:creationId xmlns:a16="http://schemas.microsoft.com/office/drawing/2014/main" id="{8D4FB871-CCFB-4308-AC5C-17B78DAD5019}"/>
              </a:ext>
            </a:extLst>
          </p:cNvPr>
          <p:cNvSpPr>
            <a:spLocks/>
          </p:cNvSpPr>
          <p:nvPr/>
        </p:nvSpPr>
        <p:spPr bwMode="auto">
          <a:xfrm>
            <a:off x="8899526" y="5033963"/>
            <a:ext cx="233363" cy="136525"/>
          </a:xfrm>
          <a:custGeom>
            <a:avLst/>
            <a:gdLst>
              <a:gd name="T0" fmla="*/ 48 w 48"/>
              <a:gd name="T1" fmla="*/ 0 h 28"/>
              <a:gd name="T2" fmla="*/ 0 w 48"/>
              <a:gd name="T3" fmla="*/ 28 h 28"/>
              <a:gd name="T4" fmla="*/ 0 w 48"/>
              <a:gd name="T5" fmla="*/ 28 h 28"/>
              <a:gd name="T6" fmla="*/ 20 w 48"/>
              <a:gd name="T7" fmla="*/ 19 h 28"/>
              <a:gd name="T8" fmla="*/ 48 w 48"/>
              <a:gd name="T9" fmla="*/ 0 h 28"/>
              <a:gd name="T10" fmla="*/ 48 w 48"/>
              <a:gd name="T11" fmla="*/ 0 h 28"/>
              <a:gd name="T12" fmla="*/ 48 w 48"/>
              <a:gd name="T13" fmla="*/ 0 h 28"/>
              <a:gd name="T14" fmla="*/ 48 w 48"/>
              <a:gd name="T15" fmla="*/ 0 h 28"/>
              <a:gd name="T16" fmla="*/ 48 w 48"/>
              <a:gd name="T1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" h="28">
                <a:moveTo>
                  <a:pt x="48" y="0"/>
                </a:moveTo>
                <a:cubicBezTo>
                  <a:pt x="34" y="12"/>
                  <a:pt x="18" y="22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7" y="26"/>
                  <a:pt x="14" y="23"/>
                  <a:pt x="20" y="19"/>
                </a:cubicBezTo>
                <a:cubicBezTo>
                  <a:pt x="30" y="14"/>
                  <a:pt x="39" y="7"/>
                  <a:pt x="48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8" y="0"/>
                  <a:pt x="48" y="0"/>
                  <a:pt x="48" y="0"/>
                </a:cubicBezTo>
              </a:path>
            </a:pathLst>
          </a:custGeom>
          <a:solidFill>
            <a:srgbClr val="C5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8" name="Freeform 83">
            <a:extLst>
              <a:ext uri="{FF2B5EF4-FFF2-40B4-BE49-F238E27FC236}">
                <a16:creationId xmlns:a16="http://schemas.microsoft.com/office/drawing/2014/main" id="{40A94366-C536-4B91-8738-652772B43DB8}"/>
              </a:ext>
            </a:extLst>
          </p:cNvPr>
          <p:cNvSpPr>
            <a:spLocks/>
          </p:cNvSpPr>
          <p:nvPr/>
        </p:nvSpPr>
        <p:spPr bwMode="auto">
          <a:xfrm>
            <a:off x="9045576" y="5033963"/>
            <a:ext cx="87313" cy="200025"/>
          </a:xfrm>
          <a:custGeom>
            <a:avLst/>
            <a:gdLst>
              <a:gd name="T0" fmla="*/ 18 w 18"/>
              <a:gd name="T1" fmla="*/ 0 h 41"/>
              <a:gd name="T2" fmla="*/ 18 w 18"/>
              <a:gd name="T3" fmla="*/ 0 h 41"/>
              <a:gd name="T4" fmla="*/ 0 w 18"/>
              <a:gd name="T5" fmla="*/ 41 h 41"/>
              <a:gd name="T6" fmla="*/ 0 w 18"/>
              <a:gd name="T7" fmla="*/ 41 h 41"/>
              <a:gd name="T8" fmla="*/ 18 w 18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41">
                <a:moveTo>
                  <a:pt x="18" y="0"/>
                </a:moveTo>
                <a:cubicBezTo>
                  <a:pt x="18" y="0"/>
                  <a:pt x="18" y="0"/>
                  <a:pt x="18" y="0"/>
                </a:cubicBezTo>
                <a:cubicBezTo>
                  <a:pt x="9" y="12"/>
                  <a:pt x="3" y="26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3" y="26"/>
                  <a:pt x="9" y="12"/>
                  <a:pt x="18" y="0"/>
                </a:cubicBezTo>
              </a:path>
            </a:pathLst>
          </a:custGeom>
          <a:solidFill>
            <a:srgbClr val="2575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9" name="Oval 84">
            <a:extLst>
              <a:ext uri="{FF2B5EF4-FFF2-40B4-BE49-F238E27FC236}">
                <a16:creationId xmlns:a16="http://schemas.microsoft.com/office/drawing/2014/main" id="{FD9CD055-417A-47B4-BDEE-117ABB7A4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2888" y="5033963"/>
            <a:ext cx="1588" cy="1588"/>
          </a:xfrm>
          <a:prstGeom prst="ellipse">
            <a:avLst/>
          </a:prstGeom>
          <a:solidFill>
            <a:srgbClr val="97A7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0" name="Freeform 85">
            <a:extLst>
              <a:ext uri="{FF2B5EF4-FFF2-40B4-BE49-F238E27FC236}">
                <a16:creationId xmlns:a16="http://schemas.microsoft.com/office/drawing/2014/main" id="{5E02A2AA-02D2-4011-A445-5D0B2E93BDA7}"/>
              </a:ext>
            </a:extLst>
          </p:cNvPr>
          <p:cNvSpPr>
            <a:spLocks noEditPoints="1"/>
          </p:cNvSpPr>
          <p:nvPr/>
        </p:nvSpPr>
        <p:spPr bwMode="auto">
          <a:xfrm>
            <a:off x="9290051" y="5087938"/>
            <a:ext cx="409575" cy="454025"/>
          </a:xfrm>
          <a:custGeom>
            <a:avLst/>
            <a:gdLst>
              <a:gd name="T0" fmla="*/ 67 w 84"/>
              <a:gd name="T1" fmla="*/ 13 h 93"/>
              <a:gd name="T2" fmla="*/ 59 w 84"/>
              <a:gd name="T3" fmla="*/ 23 h 93"/>
              <a:gd name="T4" fmla="*/ 71 w 84"/>
              <a:gd name="T5" fmla="*/ 47 h 93"/>
              <a:gd name="T6" fmla="*/ 43 w 84"/>
              <a:gd name="T7" fmla="*/ 76 h 93"/>
              <a:gd name="T8" fmla="*/ 43 w 84"/>
              <a:gd name="T9" fmla="*/ 71 h 93"/>
              <a:gd name="T10" fmla="*/ 24 w 84"/>
              <a:gd name="T11" fmla="*/ 82 h 93"/>
              <a:gd name="T12" fmla="*/ 43 w 84"/>
              <a:gd name="T13" fmla="*/ 93 h 93"/>
              <a:gd name="T14" fmla="*/ 43 w 84"/>
              <a:gd name="T15" fmla="*/ 89 h 93"/>
              <a:gd name="T16" fmla="*/ 84 w 84"/>
              <a:gd name="T17" fmla="*/ 47 h 93"/>
              <a:gd name="T18" fmla="*/ 67 w 84"/>
              <a:gd name="T19" fmla="*/ 13 h 93"/>
              <a:gd name="T20" fmla="*/ 38 w 84"/>
              <a:gd name="T21" fmla="*/ 0 h 93"/>
              <a:gd name="T22" fmla="*/ 38 w 84"/>
              <a:gd name="T23" fmla="*/ 5 h 93"/>
              <a:gd name="T24" fmla="*/ 0 w 84"/>
              <a:gd name="T25" fmla="*/ 47 h 93"/>
              <a:gd name="T26" fmla="*/ 14 w 84"/>
              <a:gd name="T27" fmla="*/ 78 h 93"/>
              <a:gd name="T28" fmla="*/ 23 w 84"/>
              <a:gd name="T29" fmla="*/ 69 h 93"/>
              <a:gd name="T30" fmla="*/ 13 w 84"/>
              <a:gd name="T31" fmla="*/ 47 h 93"/>
              <a:gd name="T32" fmla="*/ 38 w 84"/>
              <a:gd name="T33" fmla="*/ 18 h 93"/>
              <a:gd name="T34" fmla="*/ 38 w 84"/>
              <a:gd name="T35" fmla="*/ 22 h 93"/>
              <a:gd name="T36" fmla="*/ 57 w 84"/>
              <a:gd name="T37" fmla="*/ 11 h 93"/>
              <a:gd name="T38" fmla="*/ 38 w 84"/>
              <a:gd name="T39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4" h="93">
                <a:moveTo>
                  <a:pt x="67" y="13"/>
                </a:moveTo>
                <a:cubicBezTo>
                  <a:pt x="59" y="23"/>
                  <a:pt x="59" y="23"/>
                  <a:pt x="59" y="23"/>
                </a:cubicBezTo>
                <a:cubicBezTo>
                  <a:pt x="66" y="29"/>
                  <a:pt x="71" y="37"/>
                  <a:pt x="71" y="47"/>
                </a:cubicBezTo>
                <a:cubicBezTo>
                  <a:pt x="71" y="62"/>
                  <a:pt x="59" y="75"/>
                  <a:pt x="43" y="76"/>
                </a:cubicBezTo>
                <a:cubicBezTo>
                  <a:pt x="43" y="71"/>
                  <a:pt x="43" y="71"/>
                  <a:pt x="43" y="71"/>
                </a:cubicBezTo>
                <a:cubicBezTo>
                  <a:pt x="24" y="82"/>
                  <a:pt x="24" y="82"/>
                  <a:pt x="24" y="82"/>
                </a:cubicBezTo>
                <a:cubicBezTo>
                  <a:pt x="43" y="93"/>
                  <a:pt x="43" y="93"/>
                  <a:pt x="43" y="93"/>
                </a:cubicBezTo>
                <a:cubicBezTo>
                  <a:pt x="43" y="89"/>
                  <a:pt x="43" y="89"/>
                  <a:pt x="43" y="89"/>
                </a:cubicBezTo>
                <a:cubicBezTo>
                  <a:pt x="66" y="88"/>
                  <a:pt x="84" y="69"/>
                  <a:pt x="84" y="47"/>
                </a:cubicBezTo>
                <a:cubicBezTo>
                  <a:pt x="84" y="33"/>
                  <a:pt x="77" y="21"/>
                  <a:pt x="67" y="13"/>
                </a:cubicBezTo>
                <a:moveTo>
                  <a:pt x="38" y="0"/>
                </a:moveTo>
                <a:cubicBezTo>
                  <a:pt x="38" y="5"/>
                  <a:pt x="38" y="5"/>
                  <a:pt x="38" y="5"/>
                </a:cubicBezTo>
                <a:cubicBezTo>
                  <a:pt x="17" y="7"/>
                  <a:pt x="0" y="25"/>
                  <a:pt x="0" y="47"/>
                </a:cubicBezTo>
                <a:cubicBezTo>
                  <a:pt x="0" y="59"/>
                  <a:pt x="5" y="70"/>
                  <a:pt x="14" y="78"/>
                </a:cubicBezTo>
                <a:cubicBezTo>
                  <a:pt x="23" y="69"/>
                  <a:pt x="23" y="69"/>
                  <a:pt x="23" y="69"/>
                </a:cubicBezTo>
                <a:cubicBezTo>
                  <a:pt x="17" y="63"/>
                  <a:pt x="13" y="55"/>
                  <a:pt x="13" y="47"/>
                </a:cubicBezTo>
                <a:cubicBezTo>
                  <a:pt x="13" y="32"/>
                  <a:pt x="24" y="20"/>
                  <a:pt x="38" y="18"/>
                </a:cubicBezTo>
                <a:cubicBezTo>
                  <a:pt x="38" y="22"/>
                  <a:pt x="38" y="22"/>
                  <a:pt x="38" y="22"/>
                </a:cubicBezTo>
                <a:cubicBezTo>
                  <a:pt x="57" y="11"/>
                  <a:pt x="57" y="11"/>
                  <a:pt x="57" y="11"/>
                </a:cubicBezTo>
                <a:cubicBezTo>
                  <a:pt x="38" y="0"/>
                  <a:pt x="38" y="0"/>
                  <a:pt x="38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1" name="Freeform 86">
            <a:extLst>
              <a:ext uri="{FF2B5EF4-FFF2-40B4-BE49-F238E27FC236}">
                <a16:creationId xmlns:a16="http://schemas.microsoft.com/office/drawing/2014/main" id="{BFFD4EF5-45F4-46B1-91F2-86FAEBE39C27}"/>
              </a:ext>
            </a:extLst>
          </p:cNvPr>
          <p:cNvSpPr>
            <a:spLocks noEditPoints="1"/>
          </p:cNvSpPr>
          <p:nvPr/>
        </p:nvSpPr>
        <p:spPr bwMode="auto">
          <a:xfrm>
            <a:off x="5751513" y="1633538"/>
            <a:ext cx="933450" cy="774700"/>
          </a:xfrm>
          <a:custGeom>
            <a:avLst/>
            <a:gdLst>
              <a:gd name="T0" fmla="*/ 25 w 191"/>
              <a:gd name="T1" fmla="*/ 89 h 159"/>
              <a:gd name="T2" fmla="*/ 113 w 191"/>
              <a:gd name="T3" fmla="*/ 89 h 159"/>
              <a:gd name="T4" fmla="*/ 80 w 191"/>
              <a:gd name="T5" fmla="*/ 20 h 159"/>
              <a:gd name="T6" fmla="*/ 58 w 191"/>
              <a:gd name="T7" fmla="*/ 33 h 159"/>
              <a:gd name="T8" fmla="*/ 28 w 191"/>
              <a:gd name="T9" fmla="*/ 33 h 159"/>
              <a:gd name="T10" fmla="*/ 21 w 191"/>
              <a:gd name="T11" fmla="*/ 57 h 159"/>
              <a:gd name="T12" fmla="*/ 0 w 191"/>
              <a:gd name="T13" fmla="*/ 79 h 159"/>
              <a:gd name="T14" fmla="*/ 12 w 191"/>
              <a:gd name="T15" fmla="*/ 100 h 159"/>
              <a:gd name="T16" fmla="*/ 12 w 191"/>
              <a:gd name="T17" fmla="*/ 131 h 159"/>
              <a:gd name="T18" fmla="*/ 37 w 191"/>
              <a:gd name="T19" fmla="*/ 137 h 159"/>
              <a:gd name="T20" fmla="*/ 58 w 191"/>
              <a:gd name="T21" fmla="*/ 159 h 159"/>
              <a:gd name="T22" fmla="*/ 80 w 191"/>
              <a:gd name="T23" fmla="*/ 146 h 159"/>
              <a:gd name="T24" fmla="*/ 110 w 191"/>
              <a:gd name="T25" fmla="*/ 146 h 159"/>
              <a:gd name="T26" fmla="*/ 116 w 191"/>
              <a:gd name="T27" fmla="*/ 122 h 159"/>
              <a:gd name="T28" fmla="*/ 138 w 191"/>
              <a:gd name="T29" fmla="*/ 100 h 159"/>
              <a:gd name="T30" fmla="*/ 125 w 191"/>
              <a:gd name="T31" fmla="*/ 79 h 159"/>
              <a:gd name="T32" fmla="*/ 126 w 191"/>
              <a:gd name="T33" fmla="*/ 48 h 159"/>
              <a:gd name="T34" fmla="*/ 101 w 191"/>
              <a:gd name="T35" fmla="*/ 42 h 159"/>
              <a:gd name="T36" fmla="*/ 80 w 191"/>
              <a:gd name="T37" fmla="*/ 20 h 159"/>
              <a:gd name="T38" fmla="*/ 141 w 191"/>
              <a:gd name="T39" fmla="*/ 34 h 159"/>
              <a:gd name="T40" fmla="*/ 175 w 191"/>
              <a:gd name="T41" fmla="*/ 34 h 159"/>
              <a:gd name="T42" fmla="*/ 163 w 191"/>
              <a:gd name="T43" fmla="*/ 0 h 159"/>
              <a:gd name="T44" fmla="*/ 153 w 191"/>
              <a:gd name="T45" fmla="*/ 7 h 159"/>
              <a:gd name="T46" fmla="*/ 138 w 191"/>
              <a:gd name="T47" fmla="*/ 7 h 159"/>
              <a:gd name="T48" fmla="*/ 135 w 191"/>
              <a:gd name="T49" fmla="*/ 18 h 159"/>
              <a:gd name="T50" fmla="*/ 125 w 191"/>
              <a:gd name="T51" fmla="*/ 29 h 159"/>
              <a:gd name="T52" fmla="*/ 131 w 191"/>
              <a:gd name="T53" fmla="*/ 39 h 159"/>
              <a:gd name="T54" fmla="*/ 131 w 191"/>
              <a:gd name="T55" fmla="*/ 54 h 159"/>
              <a:gd name="T56" fmla="*/ 143 w 191"/>
              <a:gd name="T57" fmla="*/ 57 h 159"/>
              <a:gd name="T58" fmla="*/ 153 w 191"/>
              <a:gd name="T59" fmla="*/ 67 h 159"/>
              <a:gd name="T60" fmla="*/ 163 w 191"/>
              <a:gd name="T61" fmla="*/ 61 h 159"/>
              <a:gd name="T62" fmla="*/ 178 w 191"/>
              <a:gd name="T63" fmla="*/ 61 h 159"/>
              <a:gd name="T64" fmla="*/ 181 w 191"/>
              <a:gd name="T65" fmla="*/ 49 h 159"/>
              <a:gd name="T66" fmla="*/ 191 w 191"/>
              <a:gd name="T67" fmla="*/ 39 h 159"/>
              <a:gd name="T68" fmla="*/ 185 w 191"/>
              <a:gd name="T69" fmla="*/ 29 h 159"/>
              <a:gd name="T70" fmla="*/ 185 w 191"/>
              <a:gd name="T71" fmla="*/ 14 h 159"/>
              <a:gd name="T72" fmla="*/ 174 w 191"/>
              <a:gd name="T73" fmla="*/ 11 h 159"/>
              <a:gd name="T74" fmla="*/ 163 w 191"/>
              <a:gd name="T75" fmla="*/ 0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91" h="159">
                <a:moveTo>
                  <a:pt x="69" y="133"/>
                </a:moveTo>
                <a:cubicBezTo>
                  <a:pt x="45" y="133"/>
                  <a:pt x="25" y="114"/>
                  <a:pt x="25" y="89"/>
                </a:cubicBezTo>
                <a:cubicBezTo>
                  <a:pt x="25" y="65"/>
                  <a:pt x="45" y="46"/>
                  <a:pt x="69" y="46"/>
                </a:cubicBezTo>
                <a:cubicBezTo>
                  <a:pt x="93" y="46"/>
                  <a:pt x="113" y="65"/>
                  <a:pt x="113" y="89"/>
                </a:cubicBezTo>
                <a:cubicBezTo>
                  <a:pt x="113" y="114"/>
                  <a:pt x="93" y="133"/>
                  <a:pt x="69" y="133"/>
                </a:cubicBezTo>
                <a:moveTo>
                  <a:pt x="80" y="20"/>
                </a:moveTo>
                <a:cubicBezTo>
                  <a:pt x="58" y="20"/>
                  <a:pt x="58" y="20"/>
                  <a:pt x="58" y="20"/>
                </a:cubicBezTo>
                <a:cubicBezTo>
                  <a:pt x="58" y="33"/>
                  <a:pt x="58" y="33"/>
                  <a:pt x="58" y="33"/>
                </a:cubicBezTo>
                <a:cubicBezTo>
                  <a:pt x="50" y="35"/>
                  <a:pt x="43" y="38"/>
                  <a:pt x="37" y="42"/>
                </a:cubicBezTo>
                <a:cubicBezTo>
                  <a:pt x="28" y="33"/>
                  <a:pt x="28" y="33"/>
                  <a:pt x="28" y="33"/>
                </a:cubicBezTo>
                <a:cubicBezTo>
                  <a:pt x="12" y="48"/>
                  <a:pt x="12" y="48"/>
                  <a:pt x="12" y="48"/>
                </a:cubicBezTo>
                <a:cubicBezTo>
                  <a:pt x="21" y="57"/>
                  <a:pt x="21" y="57"/>
                  <a:pt x="21" y="57"/>
                </a:cubicBezTo>
                <a:cubicBezTo>
                  <a:pt x="17" y="64"/>
                  <a:pt x="14" y="71"/>
                  <a:pt x="12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100"/>
                  <a:pt x="0" y="100"/>
                  <a:pt x="0" y="100"/>
                </a:cubicBezTo>
                <a:cubicBezTo>
                  <a:pt x="12" y="100"/>
                  <a:pt x="12" y="100"/>
                  <a:pt x="12" y="100"/>
                </a:cubicBezTo>
                <a:cubicBezTo>
                  <a:pt x="14" y="108"/>
                  <a:pt x="17" y="115"/>
                  <a:pt x="21" y="122"/>
                </a:cubicBezTo>
                <a:cubicBezTo>
                  <a:pt x="12" y="131"/>
                  <a:pt x="12" y="131"/>
                  <a:pt x="12" y="13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37" y="137"/>
                  <a:pt x="37" y="137"/>
                  <a:pt x="37" y="137"/>
                </a:cubicBezTo>
                <a:cubicBezTo>
                  <a:pt x="43" y="141"/>
                  <a:pt x="50" y="144"/>
                  <a:pt x="58" y="146"/>
                </a:cubicBezTo>
                <a:cubicBezTo>
                  <a:pt x="58" y="159"/>
                  <a:pt x="58" y="159"/>
                  <a:pt x="58" y="159"/>
                </a:cubicBezTo>
                <a:cubicBezTo>
                  <a:pt x="80" y="159"/>
                  <a:pt x="80" y="159"/>
                  <a:pt x="80" y="159"/>
                </a:cubicBezTo>
                <a:cubicBezTo>
                  <a:pt x="80" y="146"/>
                  <a:pt x="80" y="146"/>
                  <a:pt x="80" y="146"/>
                </a:cubicBezTo>
                <a:cubicBezTo>
                  <a:pt x="87" y="144"/>
                  <a:pt x="95" y="141"/>
                  <a:pt x="101" y="137"/>
                </a:cubicBezTo>
                <a:cubicBezTo>
                  <a:pt x="110" y="146"/>
                  <a:pt x="110" y="146"/>
                  <a:pt x="110" y="146"/>
                </a:cubicBezTo>
                <a:cubicBezTo>
                  <a:pt x="126" y="131"/>
                  <a:pt x="126" y="131"/>
                  <a:pt x="126" y="131"/>
                </a:cubicBezTo>
                <a:cubicBezTo>
                  <a:pt x="116" y="122"/>
                  <a:pt x="116" y="122"/>
                  <a:pt x="116" y="122"/>
                </a:cubicBezTo>
                <a:cubicBezTo>
                  <a:pt x="121" y="115"/>
                  <a:pt x="124" y="108"/>
                  <a:pt x="125" y="100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38" y="79"/>
                  <a:pt x="138" y="79"/>
                  <a:pt x="138" y="79"/>
                </a:cubicBezTo>
                <a:cubicBezTo>
                  <a:pt x="125" y="79"/>
                  <a:pt x="125" y="79"/>
                  <a:pt x="125" y="79"/>
                </a:cubicBezTo>
                <a:cubicBezTo>
                  <a:pt x="124" y="71"/>
                  <a:pt x="121" y="64"/>
                  <a:pt x="116" y="57"/>
                </a:cubicBezTo>
                <a:cubicBezTo>
                  <a:pt x="126" y="48"/>
                  <a:pt x="126" y="48"/>
                  <a:pt x="126" y="48"/>
                </a:cubicBezTo>
                <a:cubicBezTo>
                  <a:pt x="110" y="33"/>
                  <a:pt x="110" y="33"/>
                  <a:pt x="110" y="33"/>
                </a:cubicBezTo>
                <a:cubicBezTo>
                  <a:pt x="101" y="42"/>
                  <a:pt x="101" y="42"/>
                  <a:pt x="101" y="42"/>
                </a:cubicBezTo>
                <a:cubicBezTo>
                  <a:pt x="95" y="38"/>
                  <a:pt x="87" y="35"/>
                  <a:pt x="80" y="33"/>
                </a:cubicBezTo>
                <a:cubicBezTo>
                  <a:pt x="80" y="20"/>
                  <a:pt x="80" y="20"/>
                  <a:pt x="80" y="20"/>
                </a:cubicBezTo>
                <a:moveTo>
                  <a:pt x="158" y="51"/>
                </a:moveTo>
                <a:cubicBezTo>
                  <a:pt x="149" y="51"/>
                  <a:pt x="141" y="43"/>
                  <a:pt x="141" y="34"/>
                </a:cubicBezTo>
                <a:cubicBezTo>
                  <a:pt x="141" y="24"/>
                  <a:pt x="149" y="17"/>
                  <a:pt x="158" y="17"/>
                </a:cubicBezTo>
                <a:cubicBezTo>
                  <a:pt x="168" y="17"/>
                  <a:pt x="175" y="24"/>
                  <a:pt x="175" y="34"/>
                </a:cubicBezTo>
                <a:cubicBezTo>
                  <a:pt x="175" y="43"/>
                  <a:pt x="168" y="51"/>
                  <a:pt x="158" y="51"/>
                </a:cubicBezTo>
                <a:moveTo>
                  <a:pt x="163" y="0"/>
                </a:moveTo>
                <a:cubicBezTo>
                  <a:pt x="153" y="0"/>
                  <a:pt x="153" y="0"/>
                  <a:pt x="153" y="0"/>
                </a:cubicBezTo>
                <a:cubicBezTo>
                  <a:pt x="153" y="7"/>
                  <a:pt x="153" y="7"/>
                  <a:pt x="153" y="7"/>
                </a:cubicBezTo>
                <a:cubicBezTo>
                  <a:pt x="149" y="7"/>
                  <a:pt x="146" y="9"/>
                  <a:pt x="143" y="11"/>
                </a:cubicBezTo>
                <a:cubicBezTo>
                  <a:pt x="138" y="7"/>
                  <a:pt x="138" y="7"/>
                  <a:pt x="138" y="7"/>
                </a:cubicBezTo>
                <a:cubicBezTo>
                  <a:pt x="131" y="14"/>
                  <a:pt x="131" y="14"/>
                  <a:pt x="131" y="14"/>
                </a:cubicBezTo>
                <a:cubicBezTo>
                  <a:pt x="135" y="18"/>
                  <a:pt x="135" y="18"/>
                  <a:pt x="135" y="18"/>
                </a:cubicBezTo>
                <a:cubicBezTo>
                  <a:pt x="133" y="21"/>
                  <a:pt x="132" y="25"/>
                  <a:pt x="131" y="29"/>
                </a:cubicBezTo>
                <a:cubicBezTo>
                  <a:pt x="125" y="29"/>
                  <a:pt x="125" y="29"/>
                  <a:pt x="125" y="29"/>
                </a:cubicBezTo>
                <a:cubicBezTo>
                  <a:pt x="125" y="39"/>
                  <a:pt x="125" y="39"/>
                  <a:pt x="125" y="39"/>
                </a:cubicBezTo>
                <a:cubicBezTo>
                  <a:pt x="131" y="39"/>
                  <a:pt x="131" y="39"/>
                  <a:pt x="131" y="39"/>
                </a:cubicBezTo>
                <a:cubicBezTo>
                  <a:pt x="132" y="43"/>
                  <a:pt x="133" y="46"/>
                  <a:pt x="135" y="49"/>
                </a:cubicBezTo>
                <a:cubicBezTo>
                  <a:pt x="131" y="54"/>
                  <a:pt x="131" y="54"/>
                  <a:pt x="131" y="54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43" y="57"/>
                  <a:pt x="143" y="57"/>
                  <a:pt x="143" y="57"/>
                </a:cubicBezTo>
                <a:cubicBezTo>
                  <a:pt x="146" y="59"/>
                  <a:pt x="149" y="60"/>
                  <a:pt x="153" y="61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63" y="67"/>
                  <a:pt x="163" y="67"/>
                  <a:pt x="163" y="67"/>
                </a:cubicBezTo>
                <a:cubicBezTo>
                  <a:pt x="163" y="61"/>
                  <a:pt x="163" y="61"/>
                  <a:pt x="163" y="61"/>
                </a:cubicBezTo>
                <a:cubicBezTo>
                  <a:pt x="167" y="60"/>
                  <a:pt x="171" y="59"/>
                  <a:pt x="174" y="57"/>
                </a:cubicBezTo>
                <a:cubicBezTo>
                  <a:pt x="178" y="61"/>
                  <a:pt x="178" y="61"/>
                  <a:pt x="178" y="61"/>
                </a:cubicBezTo>
                <a:cubicBezTo>
                  <a:pt x="185" y="54"/>
                  <a:pt x="185" y="54"/>
                  <a:pt x="185" y="54"/>
                </a:cubicBezTo>
                <a:cubicBezTo>
                  <a:pt x="181" y="49"/>
                  <a:pt x="181" y="49"/>
                  <a:pt x="181" y="49"/>
                </a:cubicBezTo>
                <a:cubicBezTo>
                  <a:pt x="183" y="46"/>
                  <a:pt x="185" y="43"/>
                  <a:pt x="185" y="39"/>
                </a:cubicBezTo>
                <a:cubicBezTo>
                  <a:pt x="191" y="39"/>
                  <a:pt x="191" y="39"/>
                  <a:pt x="191" y="39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5" y="29"/>
                  <a:pt x="185" y="29"/>
                  <a:pt x="185" y="29"/>
                </a:cubicBezTo>
                <a:cubicBezTo>
                  <a:pt x="185" y="25"/>
                  <a:pt x="183" y="21"/>
                  <a:pt x="181" y="18"/>
                </a:cubicBezTo>
                <a:cubicBezTo>
                  <a:pt x="185" y="14"/>
                  <a:pt x="185" y="14"/>
                  <a:pt x="185" y="14"/>
                </a:cubicBezTo>
                <a:cubicBezTo>
                  <a:pt x="178" y="7"/>
                  <a:pt x="178" y="7"/>
                  <a:pt x="178" y="7"/>
                </a:cubicBezTo>
                <a:cubicBezTo>
                  <a:pt x="174" y="11"/>
                  <a:pt x="174" y="11"/>
                  <a:pt x="174" y="11"/>
                </a:cubicBezTo>
                <a:cubicBezTo>
                  <a:pt x="171" y="9"/>
                  <a:pt x="167" y="7"/>
                  <a:pt x="163" y="7"/>
                </a:cubicBezTo>
                <a:cubicBezTo>
                  <a:pt x="163" y="0"/>
                  <a:pt x="163" y="0"/>
                  <a:pt x="16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2" name="Freeform 87">
            <a:extLst>
              <a:ext uri="{FF2B5EF4-FFF2-40B4-BE49-F238E27FC236}">
                <a16:creationId xmlns:a16="http://schemas.microsoft.com/office/drawing/2014/main" id="{A28458B2-18D6-47B9-AFF3-8B517D7C2236}"/>
              </a:ext>
            </a:extLst>
          </p:cNvPr>
          <p:cNvSpPr>
            <a:spLocks noEditPoints="1"/>
          </p:cNvSpPr>
          <p:nvPr/>
        </p:nvSpPr>
        <p:spPr bwMode="auto">
          <a:xfrm>
            <a:off x="8358188" y="4233863"/>
            <a:ext cx="536575" cy="477838"/>
          </a:xfrm>
          <a:custGeom>
            <a:avLst/>
            <a:gdLst>
              <a:gd name="T0" fmla="*/ 23 w 110"/>
              <a:gd name="T1" fmla="*/ 40 h 98"/>
              <a:gd name="T2" fmla="*/ 34 w 110"/>
              <a:gd name="T3" fmla="*/ 55 h 98"/>
              <a:gd name="T4" fmla="*/ 50 w 110"/>
              <a:gd name="T5" fmla="*/ 44 h 98"/>
              <a:gd name="T6" fmla="*/ 39 w 110"/>
              <a:gd name="T7" fmla="*/ 30 h 98"/>
              <a:gd name="T8" fmla="*/ 50 w 110"/>
              <a:gd name="T9" fmla="*/ 22 h 98"/>
              <a:gd name="T10" fmla="*/ 8 w 110"/>
              <a:gd name="T11" fmla="*/ 0 h 98"/>
              <a:gd name="T12" fmla="*/ 11 w 110"/>
              <a:gd name="T13" fmla="*/ 48 h 98"/>
              <a:gd name="T14" fmla="*/ 23 w 110"/>
              <a:gd name="T15" fmla="*/ 40 h 98"/>
              <a:gd name="T16" fmla="*/ 88 w 110"/>
              <a:gd name="T17" fmla="*/ 41 h 98"/>
              <a:gd name="T18" fmla="*/ 100 w 110"/>
              <a:gd name="T19" fmla="*/ 49 h 98"/>
              <a:gd name="T20" fmla="*/ 105 w 110"/>
              <a:gd name="T21" fmla="*/ 1 h 98"/>
              <a:gd name="T22" fmla="*/ 62 w 110"/>
              <a:gd name="T23" fmla="*/ 22 h 98"/>
              <a:gd name="T24" fmla="*/ 73 w 110"/>
              <a:gd name="T25" fmla="*/ 30 h 98"/>
              <a:gd name="T26" fmla="*/ 0 w 110"/>
              <a:gd name="T27" fmla="*/ 78 h 98"/>
              <a:gd name="T28" fmla="*/ 4 w 110"/>
              <a:gd name="T29" fmla="*/ 96 h 98"/>
              <a:gd name="T30" fmla="*/ 88 w 110"/>
              <a:gd name="T31" fmla="*/ 41 h 98"/>
              <a:gd name="T32" fmla="*/ 77 w 110"/>
              <a:gd name="T33" fmla="*/ 66 h 98"/>
              <a:gd name="T34" fmla="*/ 62 w 110"/>
              <a:gd name="T35" fmla="*/ 78 h 98"/>
              <a:gd name="T36" fmla="*/ 105 w 110"/>
              <a:gd name="T37" fmla="*/ 98 h 98"/>
              <a:gd name="T38" fmla="*/ 110 w 110"/>
              <a:gd name="T39" fmla="*/ 80 h 98"/>
              <a:gd name="T40" fmla="*/ 77 w 110"/>
              <a:gd name="T41" fmla="*/ 66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0" h="98">
                <a:moveTo>
                  <a:pt x="23" y="40"/>
                </a:moveTo>
                <a:cubicBezTo>
                  <a:pt x="27" y="45"/>
                  <a:pt x="30" y="50"/>
                  <a:pt x="34" y="55"/>
                </a:cubicBezTo>
                <a:cubicBezTo>
                  <a:pt x="40" y="52"/>
                  <a:pt x="45" y="48"/>
                  <a:pt x="50" y="44"/>
                </a:cubicBezTo>
                <a:cubicBezTo>
                  <a:pt x="46" y="40"/>
                  <a:pt x="42" y="35"/>
                  <a:pt x="39" y="30"/>
                </a:cubicBezTo>
                <a:cubicBezTo>
                  <a:pt x="50" y="22"/>
                  <a:pt x="50" y="22"/>
                  <a:pt x="50" y="22"/>
                </a:cubicBezTo>
                <a:cubicBezTo>
                  <a:pt x="8" y="0"/>
                  <a:pt x="8" y="0"/>
                  <a:pt x="8" y="0"/>
                </a:cubicBezTo>
                <a:cubicBezTo>
                  <a:pt x="11" y="48"/>
                  <a:pt x="11" y="48"/>
                  <a:pt x="11" y="48"/>
                </a:cubicBezTo>
                <a:lnTo>
                  <a:pt x="23" y="40"/>
                </a:lnTo>
                <a:close/>
                <a:moveTo>
                  <a:pt x="88" y="41"/>
                </a:moveTo>
                <a:cubicBezTo>
                  <a:pt x="100" y="49"/>
                  <a:pt x="100" y="49"/>
                  <a:pt x="100" y="49"/>
                </a:cubicBezTo>
                <a:cubicBezTo>
                  <a:pt x="105" y="1"/>
                  <a:pt x="105" y="1"/>
                  <a:pt x="105" y="1"/>
                </a:cubicBezTo>
                <a:cubicBezTo>
                  <a:pt x="62" y="22"/>
                  <a:pt x="62" y="22"/>
                  <a:pt x="62" y="22"/>
                </a:cubicBezTo>
                <a:cubicBezTo>
                  <a:pt x="73" y="30"/>
                  <a:pt x="73" y="30"/>
                  <a:pt x="73" y="30"/>
                </a:cubicBezTo>
                <a:cubicBezTo>
                  <a:pt x="46" y="68"/>
                  <a:pt x="1" y="78"/>
                  <a:pt x="0" y="78"/>
                </a:cubicBezTo>
                <a:cubicBezTo>
                  <a:pt x="4" y="96"/>
                  <a:pt x="4" y="96"/>
                  <a:pt x="4" y="96"/>
                </a:cubicBezTo>
                <a:cubicBezTo>
                  <a:pt x="6" y="96"/>
                  <a:pt x="57" y="85"/>
                  <a:pt x="88" y="41"/>
                </a:cubicBezTo>
                <a:close/>
                <a:moveTo>
                  <a:pt x="77" y="66"/>
                </a:moveTo>
                <a:cubicBezTo>
                  <a:pt x="72" y="70"/>
                  <a:pt x="67" y="75"/>
                  <a:pt x="62" y="78"/>
                </a:cubicBezTo>
                <a:cubicBezTo>
                  <a:pt x="84" y="93"/>
                  <a:pt x="104" y="98"/>
                  <a:pt x="105" y="98"/>
                </a:cubicBezTo>
                <a:cubicBezTo>
                  <a:pt x="110" y="80"/>
                  <a:pt x="110" y="80"/>
                  <a:pt x="110" y="80"/>
                </a:cubicBezTo>
                <a:cubicBezTo>
                  <a:pt x="109" y="80"/>
                  <a:pt x="95" y="76"/>
                  <a:pt x="77" y="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3" name="Freeform 88">
            <a:extLst>
              <a:ext uri="{FF2B5EF4-FFF2-40B4-BE49-F238E27FC236}">
                <a16:creationId xmlns:a16="http://schemas.microsoft.com/office/drawing/2014/main" id="{7E29125E-95EB-400E-BF1C-9B6F5983FD4D}"/>
              </a:ext>
            </a:extLst>
          </p:cNvPr>
          <p:cNvSpPr>
            <a:spLocks noEditPoints="1"/>
          </p:cNvSpPr>
          <p:nvPr/>
        </p:nvSpPr>
        <p:spPr bwMode="auto">
          <a:xfrm>
            <a:off x="7085013" y="3116263"/>
            <a:ext cx="915988" cy="463550"/>
          </a:xfrm>
          <a:custGeom>
            <a:avLst/>
            <a:gdLst>
              <a:gd name="T0" fmla="*/ 26 w 188"/>
              <a:gd name="T1" fmla="*/ 37 h 95"/>
              <a:gd name="T2" fmla="*/ 17 w 188"/>
              <a:gd name="T3" fmla="*/ 46 h 95"/>
              <a:gd name="T4" fmla="*/ 20 w 188"/>
              <a:gd name="T5" fmla="*/ 53 h 95"/>
              <a:gd name="T6" fmla="*/ 4 w 188"/>
              <a:gd name="T7" fmla="*/ 78 h 95"/>
              <a:gd name="T8" fmla="*/ 6 w 188"/>
              <a:gd name="T9" fmla="*/ 78 h 95"/>
              <a:gd name="T10" fmla="*/ 16 w 188"/>
              <a:gd name="T11" fmla="*/ 69 h 95"/>
              <a:gd name="T12" fmla="*/ 11 w 188"/>
              <a:gd name="T13" fmla="*/ 95 h 95"/>
              <a:gd name="T14" fmla="*/ 19 w 188"/>
              <a:gd name="T15" fmla="*/ 95 h 95"/>
              <a:gd name="T16" fmla="*/ 26 w 188"/>
              <a:gd name="T17" fmla="*/ 84 h 95"/>
              <a:gd name="T18" fmla="*/ 32 w 188"/>
              <a:gd name="T19" fmla="*/ 95 h 95"/>
              <a:gd name="T20" fmla="*/ 40 w 188"/>
              <a:gd name="T21" fmla="*/ 95 h 95"/>
              <a:gd name="T22" fmla="*/ 35 w 188"/>
              <a:gd name="T23" fmla="*/ 69 h 95"/>
              <a:gd name="T24" fmla="*/ 46 w 188"/>
              <a:gd name="T25" fmla="*/ 78 h 95"/>
              <a:gd name="T26" fmla="*/ 47 w 188"/>
              <a:gd name="T27" fmla="*/ 78 h 95"/>
              <a:gd name="T28" fmla="*/ 31 w 188"/>
              <a:gd name="T29" fmla="*/ 53 h 95"/>
              <a:gd name="T30" fmla="*/ 35 w 188"/>
              <a:gd name="T31" fmla="*/ 46 h 95"/>
              <a:gd name="T32" fmla="*/ 26 w 188"/>
              <a:gd name="T33" fmla="*/ 37 h 95"/>
              <a:gd name="T34" fmla="*/ 163 w 188"/>
              <a:gd name="T35" fmla="*/ 37 h 95"/>
              <a:gd name="T36" fmla="*/ 154 w 188"/>
              <a:gd name="T37" fmla="*/ 46 h 95"/>
              <a:gd name="T38" fmla="*/ 157 w 188"/>
              <a:gd name="T39" fmla="*/ 53 h 95"/>
              <a:gd name="T40" fmla="*/ 141 w 188"/>
              <a:gd name="T41" fmla="*/ 78 h 95"/>
              <a:gd name="T42" fmla="*/ 143 w 188"/>
              <a:gd name="T43" fmla="*/ 78 h 95"/>
              <a:gd name="T44" fmla="*/ 153 w 188"/>
              <a:gd name="T45" fmla="*/ 69 h 95"/>
              <a:gd name="T46" fmla="*/ 148 w 188"/>
              <a:gd name="T47" fmla="*/ 95 h 95"/>
              <a:gd name="T48" fmla="*/ 157 w 188"/>
              <a:gd name="T49" fmla="*/ 95 h 95"/>
              <a:gd name="T50" fmla="*/ 163 w 188"/>
              <a:gd name="T51" fmla="*/ 84 h 95"/>
              <a:gd name="T52" fmla="*/ 169 w 188"/>
              <a:gd name="T53" fmla="*/ 95 h 95"/>
              <a:gd name="T54" fmla="*/ 177 w 188"/>
              <a:gd name="T55" fmla="*/ 95 h 95"/>
              <a:gd name="T56" fmla="*/ 173 w 188"/>
              <a:gd name="T57" fmla="*/ 69 h 95"/>
              <a:gd name="T58" fmla="*/ 183 w 188"/>
              <a:gd name="T59" fmla="*/ 78 h 95"/>
              <a:gd name="T60" fmla="*/ 185 w 188"/>
              <a:gd name="T61" fmla="*/ 78 h 95"/>
              <a:gd name="T62" fmla="*/ 169 w 188"/>
              <a:gd name="T63" fmla="*/ 53 h 95"/>
              <a:gd name="T64" fmla="*/ 172 w 188"/>
              <a:gd name="T65" fmla="*/ 46 h 95"/>
              <a:gd name="T66" fmla="*/ 163 w 188"/>
              <a:gd name="T67" fmla="*/ 37 h 95"/>
              <a:gd name="T68" fmla="*/ 96 w 188"/>
              <a:gd name="T69" fmla="*/ 0 h 95"/>
              <a:gd name="T70" fmla="*/ 81 w 188"/>
              <a:gd name="T71" fmla="*/ 14 h 95"/>
              <a:gd name="T72" fmla="*/ 87 w 188"/>
              <a:gd name="T73" fmla="*/ 26 h 95"/>
              <a:gd name="T74" fmla="*/ 60 w 188"/>
              <a:gd name="T75" fmla="*/ 67 h 95"/>
              <a:gd name="T76" fmla="*/ 63 w 188"/>
              <a:gd name="T77" fmla="*/ 68 h 95"/>
              <a:gd name="T78" fmla="*/ 80 w 188"/>
              <a:gd name="T79" fmla="*/ 53 h 95"/>
              <a:gd name="T80" fmla="*/ 72 w 188"/>
              <a:gd name="T81" fmla="*/ 95 h 95"/>
              <a:gd name="T82" fmla="*/ 86 w 188"/>
              <a:gd name="T83" fmla="*/ 95 h 95"/>
              <a:gd name="T84" fmla="*/ 96 w 188"/>
              <a:gd name="T85" fmla="*/ 78 h 95"/>
              <a:gd name="T86" fmla="*/ 106 w 188"/>
              <a:gd name="T87" fmla="*/ 95 h 95"/>
              <a:gd name="T88" fmla="*/ 119 w 188"/>
              <a:gd name="T89" fmla="*/ 95 h 95"/>
              <a:gd name="T90" fmla="*/ 112 w 188"/>
              <a:gd name="T91" fmla="*/ 53 h 95"/>
              <a:gd name="T92" fmla="*/ 128 w 188"/>
              <a:gd name="T93" fmla="*/ 68 h 95"/>
              <a:gd name="T94" fmla="*/ 131 w 188"/>
              <a:gd name="T95" fmla="*/ 67 h 95"/>
              <a:gd name="T96" fmla="*/ 105 w 188"/>
              <a:gd name="T97" fmla="*/ 26 h 95"/>
              <a:gd name="T98" fmla="*/ 111 w 188"/>
              <a:gd name="T99" fmla="*/ 14 h 95"/>
              <a:gd name="T100" fmla="*/ 96 w 188"/>
              <a:gd name="T101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8" h="95">
                <a:moveTo>
                  <a:pt x="26" y="37"/>
                </a:moveTo>
                <a:cubicBezTo>
                  <a:pt x="21" y="37"/>
                  <a:pt x="17" y="41"/>
                  <a:pt x="17" y="46"/>
                </a:cubicBezTo>
                <a:cubicBezTo>
                  <a:pt x="17" y="49"/>
                  <a:pt x="18" y="51"/>
                  <a:pt x="20" y="53"/>
                </a:cubicBezTo>
                <a:cubicBezTo>
                  <a:pt x="11" y="56"/>
                  <a:pt x="0" y="74"/>
                  <a:pt x="4" y="78"/>
                </a:cubicBezTo>
                <a:cubicBezTo>
                  <a:pt x="4" y="78"/>
                  <a:pt x="5" y="78"/>
                  <a:pt x="6" y="78"/>
                </a:cubicBezTo>
                <a:cubicBezTo>
                  <a:pt x="9" y="78"/>
                  <a:pt x="13" y="74"/>
                  <a:pt x="16" y="69"/>
                </a:cubicBezTo>
                <a:cubicBezTo>
                  <a:pt x="14" y="78"/>
                  <a:pt x="12" y="87"/>
                  <a:pt x="11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20" y="91"/>
                  <a:pt x="22" y="84"/>
                  <a:pt x="26" y="84"/>
                </a:cubicBezTo>
                <a:cubicBezTo>
                  <a:pt x="29" y="84"/>
                  <a:pt x="32" y="91"/>
                  <a:pt x="32" y="95"/>
                </a:cubicBezTo>
                <a:cubicBezTo>
                  <a:pt x="40" y="95"/>
                  <a:pt x="40" y="95"/>
                  <a:pt x="40" y="95"/>
                </a:cubicBezTo>
                <a:cubicBezTo>
                  <a:pt x="39" y="87"/>
                  <a:pt x="38" y="78"/>
                  <a:pt x="35" y="69"/>
                </a:cubicBezTo>
                <a:cubicBezTo>
                  <a:pt x="39" y="74"/>
                  <a:pt x="43" y="78"/>
                  <a:pt x="46" y="78"/>
                </a:cubicBezTo>
                <a:cubicBezTo>
                  <a:pt x="46" y="78"/>
                  <a:pt x="47" y="78"/>
                  <a:pt x="47" y="78"/>
                </a:cubicBezTo>
                <a:cubicBezTo>
                  <a:pt x="51" y="74"/>
                  <a:pt x="41" y="56"/>
                  <a:pt x="31" y="53"/>
                </a:cubicBezTo>
                <a:cubicBezTo>
                  <a:pt x="33" y="51"/>
                  <a:pt x="35" y="49"/>
                  <a:pt x="35" y="46"/>
                </a:cubicBezTo>
                <a:cubicBezTo>
                  <a:pt x="35" y="41"/>
                  <a:pt x="31" y="37"/>
                  <a:pt x="26" y="37"/>
                </a:cubicBezTo>
                <a:moveTo>
                  <a:pt x="163" y="37"/>
                </a:moveTo>
                <a:cubicBezTo>
                  <a:pt x="158" y="37"/>
                  <a:pt x="154" y="41"/>
                  <a:pt x="154" y="46"/>
                </a:cubicBezTo>
                <a:cubicBezTo>
                  <a:pt x="154" y="49"/>
                  <a:pt x="155" y="51"/>
                  <a:pt x="157" y="53"/>
                </a:cubicBezTo>
                <a:cubicBezTo>
                  <a:pt x="148" y="56"/>
                  <a:pt x="138" y="74"/>
                  <a:pt x="141" y="78"/>
                </a:cubicBezTo>
                <a:cubicBezTo>
                  <a:pt x="142" y="78"/>
                  <a:pt x="142" y="78"/>
                  <a:pt x="143" y="78"/>
                </a:cubicBezTo>
                <a:cubicBezTo>
                  <a:pt x="146" y="78"/>
                  <a:pt x="150" y="74"/>
                  <a:pt x="153" y="69"/>
                </a:cubicBezTo>
                <a:cubicBezTo>
                  <a:pt x="151" y="78"/>
                  <a:pt x="149" y="87"/>
                  <a:pt x="148" y="95"/>
                </a:cubicBezTo>
                <a:cubicBezTo>
                  <a:pt x="157" y="95"/>
                  <a:pt x="157" y="95"/>
                  <a:pt x="157" y="95"/>
                </a:cubicBezTo>
                <a:cubicBezTo>
                  <a:pt x="157" y="91"/>
                  <a:pt x="160" y="84"/>
                  <a:pt x="163" y="84"/>
                </a:cubicBezTo>
                <a:cubicBezTo>
                  <a:pt x="166" y="84"/>
                  <a:pt x="169" y="91"/>
                  <a:pt x="169" y="95"/>
                </a:cubicBezTo>
                <a:cubicBezTo>
                  <a:pt x="177" y="95"/>
                  <a:pt x="177" y="95"/>
                  <a:pt x="177" y="95"/>
                </a:cubicBezTo>
                <a:cubicBezTo>
                  <a:pt x="177" y="87"/>
                  <a:pt x="175" y="78"/>
                  <a:pt x="173" y="69"/>
                </a:cubicBezTo>
                <a:cubicBezTo>
                  <a:pt x="176" y="74"/>
                  <a:pt x="180" y="78"/>
                  <a:pt x="183" y="78"/>
                </a:cubicBezTo>
                <a:cubicBezTo>
                  <a:pt x="184" y="78"/>
                  <a:pt x="184" y="78"/>
                  <a:pt x="185" y="78"/>
                </a:cubicBezTo>
                <a:cubicBezTo>
                  <a:pt x="188" y="74"/>
                  <a:pt x="178" y="56"/>
                  <a:pt x="169" y="53"/>
                </a:cubicBezTo>
                <a:cubicBezTo>
                  <a:pt x="171" y="51"/>
                  <a:pt x="172" y="49"/>
                  <a:pt x="172" y="46"/>
                </a:cubicBezTo>
                <a:cubicBezTo>
                  <a:pt x="172" y="41"/>
                  <a:pt x="168" y="37"/>
                  <a:pt x="163" y="37"/>
                </a:cubicBezTo>
                <a:moveTo>
                  <a:pt x="96" y="0"/>
                </a:moveTo>
                <a:cubicBezTo>
                  <a:pt x="88" y="0"/>
                  <a:pt x="81" y="6"/>
                  <a:pt x="81" y="14"/>
                </a:cubicBezTo>
                <a:cubicBezTo>
                  <a:pt x="81" y="19"/>
                  <a:pt x="83" y="23"/>
                  <a:pt x="87" y="26"/>
                </a:cubicBezTo>
                <a:cubicBezTo>
                  <a:pt x="72" y="31"/>
                  <a:pt x="55" y="61"/>
                  <a:pt x="60" y="67"/>
                </a:cubicBezTo>
                <a:cubicBezTo>
                  <a:pt x="61" y="68"/>
                  <a:pt x="62" y="68"/>
                  <a:pt x="63" y="68"/>
                </a:cubicBezTo>
                <a:cubicBezTo>
                  <a:pt x="68" y="68"/>
                  <a:pt x="75" y="60"/>
                  <a:pt x="80" y="53"/>
                </a:cubicBezTo>
                <a:cubicBezTo>
                  <a:pt x="76" y="67"/>
                  <a:pt x="74" y="82"/>
                  <a:pt x="72" y="95"/>
                </a:cubicBezTo>
                <a:cubicBezTo>
                  <a:pt x="86" y="95"/>
                  <a:pt x="86" y="95"/>
                  <a:pt x="86" y="95"/>
                </a:cubicBezTo>
                <a:cubicBezTo>
                  <a:pt x="86" y="88"/>
                  <a:pt x="91" y="78"/>
                  <a:pt x="96" y="78"/>
                </a:cubicBezTo>
                <a:cubicBezTo>
                  <a:pt x="101" y="78"/>
                  <a:pt x="106" y="88"/>
                  <a:pt x="106" y="95"/>
                </a:cubicBezTo>
                <a:cubicBezTo>
                  <a:pt x="119" y="95"/>
                  <a:pt x="119" y="95"/>
                  <a:pt x="119" y="95"/>
                </a:cubicBezTo>
                <a:cubicBezTo>
                  <a:pt x="118" y="82"/>
                  <a:pt x="115" y="67"/>
                  <a:pt x="112" y="53"/>
                </a:cubicBezTo>
                <a:cubicBezTo>
                  <a:pt x="117" y="60"/>
                  <a:pt x="124" y="68"/>
                  <a:pt x="128" y="68"/>
                </a:cubicBezTo>
                <a:cubicBezTo>
                  <a:pt x="130" y="68"/>
                  <a:pt x="131" y="68"/>
                  <a:pt x="131" y="67"/>
                </a:cubicBezTo>
                <a:cubicBezTo>
                  <a:pt x="137" y="61"/>
                  <a:pt x="120" y="31"/>
                  <a:pt x="105" y="26"/>
                </a:cubicBezTo>
                <a:cubicBezTo>
                  <a:pt x="108" y="23"/>
                  <a:pt x="111" y="19"/>
                  <a:pt x="111" y="14"/>
                </a:cubicBezTo>
                <a:cubicBezTo>
                  <a:pt x="111" y="6"/>
                  <a:pt x="104" y="0"/>
                  <a:pt x="96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4" name="文本框 163">
            <a:extLst>
              <a:ext uri="{FF2B5EF4-FFF2-40B4-BE49-F238E27FC236}">
                <a16:creationId xmlns:a16="http://schemas.microsoft.com/office/drawing/2014/main" id="{D5AF4254-5950-4E73-8B77-FF90788200D2}"/>
              </a:ext>
            </a:extLst>
          </p:cNvPr>
          <p:cNvSpPr txBox="1"/>
          <p:nvPr/>
        </p:nvSpPr>
        <p:spPr>
          <a:xfrm>
            <a:off x="6246389" y="4414676"/>
            <a:ext cx="7328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3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65" name="文本框 164">
            <a:extLst>
              <a:ext uri="{FF2B5EF4-FFF2-40B4-BE49-F238E27FC236}">
                <a16:creationId xmlns:a16="http://schemas.microsoft.com/office/drawing/2014/main" id="{BA8E9832-A4A2-4D08-96DB-5D2B39769BFD}"/>
              </a:ext>
            </a:extLst>
          </p:cNvPr>
          <p:cNvSpPr txBox="1"/>
          <p:nvPr/>
        </p:nvSpPr>
        <p:spPr>
          <a:xfrm>
            <a:off x="5514779" y="4991656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6" name="文本框 165">
            <a:extLst>
              <a:ext uri="{FF2B5EF4-FFF2-40B4-BE49-F238E27FC236}">
                <a16:creationId xmlns:a16="http://schemas.microsoft.com/office/drawing/2014/main" id="{E7A6B192-5DCB-4038-BAD9-D5D670C53E41}"/>
              </a:ext>
            </a:extLst>
          </p:cNvPr>
          <p:cNvSpPr txBox="1"/>
          <p:nvPr/>
        </p:nvSpPr>
        <p:spPr>
          <a:xfrm>
            <a:off x="7174988" y="5296683"/>
            <a:ext cx="71686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4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67" name="文本框 166">
            <a:extLst>
              <a:ext uri="{FF2B5EF4-FFF2-40B4-BE49-F238E27FC236}">
                <a16:creationId xmlns:a16="http://schemas.microsoft.com/office/drawing/2014/main" id="{E9452522-EC9D-49AA-9F25-0F0D372ECECB}"/>
              </a:ext>
            </a:extLst>
          </p:cNvPr>
          <p:cNvSpPr txBox="1"/>
          <p:nvPr/>
        </p:nvSpPr>
        <p:spPr>
          <a:xfrm>
            <a:off x="6443378" y="5873663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60BC0B57-570C-4ED6-9906-264001AF6B2F}"/>
              </a:ext>
            </a:extLst>
          </p:cNvPr>
          <p:cNvSpPr txBox="1"/>
          <p:nvPr/>
        </p:nvSpPr>
        <p:spPr>
          <a:xfrm>
            <a:off x="8337793" y="677784"/>
            <a:ext cx="6559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1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34756F7B-A1DA-4A67-877F-55F68B5DEFDF}"/>
              </a:ext>
            </a:extLst>
          </p:cNvPr>
          <p:cNvSpPr txBox="1"/>
          <p:nvPr/>
        </p:nvSpPr>
        <p:spPr>
          <a:xfrm>
            <a:off x="8337793" y="1254764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0" name="文本框 169">
            <a:extLst>
              <a:ext uri="{FF2B5EF4-FFF2-40B4-BE49-F238E27FC236}">
                <a16:creationId xmlns:a16="http://schemas.microsoft.com/office/drawing/2014/main" id="{010C8126-621E-47F7-9C3E-BCC47092AA7F}"/>
              </a:ext>
            </a:extLst>
          </p:cNvPr>
          <p:cNvSpPr txBox="1"/>
          <p:nvPr/>
        </p:nvSpPr>
        <p:spPr>
          <a:xfrm>
            <a:off x="9440194" y="2212433"/>
            <a:ext cx="7184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02</a:t>
            </a:r>
            <a:endParaRPr lang="zh-CN" altLang="en-US" sz="4000" dirty="0">
              <a:solidFill>
                <a:srgbClr val="605E5E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171" name="文本框 170">
            <a:extLst>
              <a:ext uri="{FF2B5EF4-FFF2-40B4-BE49-F238E27FC236}">
                <a16:creationId xmlns:a16="http://schemas.microsoft.com/office/drawing/2014/main" id="{E42028A0-86D7-4BEA-9901-AAE322A47BF9}"/>
              </a:ext>
            </a:extLst>
          </p:cNvPr>
          <p:cNvSpPr txBox="1"/>
          <p:nvPr/>
        </p:nvSpPr>
        <p:spPr>
          <a:xfrm>
            <a:off x="9440194" y="2789413"/>
            <a:ext cx="1498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605E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  <a:r>
              <a:rPr lang="en-US" altLang="zh-CN" dirty="0">
                <a:solidFill>
                  <a:srgbClr val="8592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zh-CN" altLang="en-US" dirty="0">
              <a:solidFill>
                <a:srgbClr val="85929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708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递进关系表达不佳的模板</a:t>
            </a:r>
          </a:p>
        </p:txBody>
      </p:sp>
      <p:sp>
        <p:nvSpPr>
          <p:cNvPr id="37" name="Freeform 40">
            <a:extLst>
              <a:ext uri="{FF2B5EF4-FFF2-40B4-BE49-F238E27FC236}">
                <a16:creationId xmlns:a16="http://schemas.microsoft.com/office/drawing/2014/main" id="{C192A23C-EDBE-4C20-B74D-203F4ACA7A76}"/>
              </a:ext>
            </a:extLst>
          </p:cNvPr>
          <p:cNvSpPr>
            <a:spLocks/>
          </p:cNvSpPr>
          <p:nvPr/>
        </p:nvSpPr>
        <p:spPr bwMode="auto">
          <a:xfrm>
            <a:off x="7868796" y="2385797"/>
            <a:ext cx="2722124" cy="2444498"/>
          </a:xfrm>
          <a:custGeom>
            <a:avLst/>
            <a:gdLst>
              <a:gd name="T0" fmla="*/ 1149 w 1149"/>
              <a:gd name="T1" fmla="*/ 515 h 1030"/>
              <a:gd name="T2" fmla="*/ 1020 w 1149"/>
              <a:gd name="T3" fmla="*/ 412 h 1030"/>
              <a:gd name="T4" fmla="*/ 515 w 1149"/>
              <a:gd name="T5" fmla="*/ 0 h 1030"/>
              <a:gd name="T6" fmla="*/ 0 w 1149"/>
              <a:gd name="T7" fmla="*/ 515 h 1030"/>
              <a:gd name="T8" fmla="*/ 515 w 1149"/>
              <a:gd name="T9" fmla="*/ 1030 h 1030"/>
              <a:gd name="T10" fmla="*/ 1020 w 1149"/>
              <a:gd name="T11" fmla="*/ 618 h 1030"/>
              <a:gd name="T12" fmla="*/ 1149 w 1149"/>
              <a:gd name="T13" fmla="*/ 515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1030">
                <a:moveTo>
                  <a:pt x="1149" y="515"/>
                </a:moveTo>
                <a:cubicBezTo>
                  <a:pt x="1020" y="412"/>
                  <a:pt x="1020" y="412"/>
                  <a:pt x="1020" y="412"/>
                </a:cubicBezTo>
                <a:cubicBezTo>
                  <a:pt x="972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2" y="853"/>
                  <a:pt x="1020" y="618"/>
                </a:cubicBezTo>
                <a:lnTo>
                  <a:pt x="1149" y="515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38" name="Freeform 41">
            <a:extLst>
              <a:ext uri="{FF2B5EF4-FFF2-40B4-BE49-F238E27FC236}">
                <a16:creationId xmlns:a16="http://schemas.microsoft.com/office/drawing/2014/main" id="{6EFF5307-7E7E-4A09-A1CE-91FB40C378A6}"/>
              </a:ext>
            </a:extLst>
          </p:cNvPr>
          <p:cNvSpPr>
            <a:spLocks noEditPoints="1"/>
          </p:cNvSpPr>
          <p:nvPr/>
        </p:nvSpPr>
        <p:spPr bwMode="auto">
          <a:xfrm>
            <a:off x="7868796" y="2385797"/>
            <a:ext cx="2722124" cy="2444498"/>
          </a:xfrm>
          <a:custGeom>
            <a:avLst/>
            <a:gdLst>
              <a:gd name="T0" fmla="*/ 1020 w 1149"/>
              <a:gd name="T1" fmla="*/ 412 h 1030"/>
              <a:gd name="T2" fmla="*/ 515 w 1149"/>
              <a:gd name="T3" fmla="*/ 0 h 1030"/>
              <a:gd name="T4" fmla="*/ 0 w 1149"/>
              <a:gd name="T5" fmla="*/ 515 h 1030"/>
              <a:gd name="T6" fmla="*/ 515 w 1149"/>
              <a:gd name="T7" fmla="*/ 1030 h 1030"/>
              <a:gd name="T8" fmla="*/ 1020 w 1149"/>
              <a:gd name="T9" fmla="*/ 618 h 1030"/>
              <a:gd name="T10" fmla="*/ 1149 w 1149"/>
              <a:gd name="T11" fmla="*/ 515 h 1030"/>
              <a:gd name="T12" fmla="*/ 1020 w 1149"/>
              <a:gd name="T13" fmla="*/ 412 h 1030"/>
              <a:gd name="T14" fmla="*/ 515 w 1149"/>
              <a:gd name="T15" fmla="*/ 979 h 1030"/>
              <a:gd name="T16" fmla="*/ 51 w 1149"/>
              <a:gd name="T17" fmla="*/ 515 h 1030"/>
              <a:gd name="T18" fmla="*/ 515 w 1149"/>
              <a:gd name="T19" fmla="*/ 51 h 1030"/>
              <a:gd name="T20" fmla="*/ 979 w 1149"/>
              <a:gd name="T21" fmla="*/ 515 h 1030"/>
              <a:gd name="T22" fmla="*/ 515 w 1149"/>
              <a:gd name="T23" fmla="*/ 979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49" h="1030">
                <a:moveTo>
                  <a:pt x="1020" y="412"/>
                </a:moveTo>
                <a:cubicBezTo>
                  <a:pt x="972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2" y="853"/>
                  <a:pt x="1020" y="618"/>
                </a:cubicBezTo>
                <a:cubicBezTo>
                  <a:pt x="1149" y="515"/>
                  <a:pt x="1149" y="515"/>
                  <a:pt x="1149" y="515"/>
                </a:cubicBezTo>
                <a:lnTo>
                  <a:pt x="1020" y="412"/>
                </a:lnTo>
                <a:close/>
                <a:moveTo>
                  <a:pt x="515" y="979"/>
                </a:moveTo>
                <a:cubicBezTo>
                  <a:pt x="259" y="979"/>
                  <a:pt x="51" y="771"/>
                  <a:pt x="51" y="515"/>
                </a:cubicBezTo>
                <a:cubicBezTo>
                  <a:pt x="51" y="259"/>
                  <a:pt x="259" y="51"/>
                  <a:pt x="515" y="51"/>
                </a:cubicBezTo>
                <a:cubicBezTo>
                  <a:pt x="771" y="51"/>
                  <a:pt x="979" y="259"/>
                  <a:pt x="979" y="515"/>
                </a:cubicBezTo>
                <a:cubicBezTo>
                  <a:pt x="979" y="771"/>
                  <a:pt x="771" y="979"/>
                  <a:pt x="515" y="979"/>
                </a:cubicBezTo>
                <a:close/>
              </a:path>
            </a:pathLst>
          </a:custGeom>
          <a:solidFill>
            <a:srgbClr val="4BAEE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" name="Freeform 42">
            <a:extLst>
              <a:ext uri="{FF2B5EF4-FFF2-40B4-BE49-F238E27FC236}">
                <a16:creationId xmlns:a16="http://schemas.microsoft.com/office/drawing/2014/main" id="{C361D624-5155-4213-90AB-344DA741EF0B}"/>
              </a:ext>
            </a:extLst>
          </p:cNvPr>
          <p:cNvSpPr>
            <a:spLocks/>
          </p:cNvSpPr>
          <p:nvPr/>
        </p:nvSpPr>
        <p:spPr bwMode="auto">
          <a:xfrm>
            <a:off x="5827490" y="2385797"/>
            <a:ext cx="2722124" cy="2444498"/>
          </a:xfrm>
          <a:custGeom>
            <a:avLst/>
            <a:gdLst>
              <a:gd name="T0" fmla="*/ 1149 w 1149"/>
              <a:gd name="T1" fmla="*/ 515 h 1030"/>
              <a:gd name="T2" fmla="*/ 1019 w 1149"/>
              <a:gd name="T3" fmla="*/ 412 h 1030"/>
              <a:gd name="T4" fmla="*/ 515 w 1149"/>
              <a:gd name="T5" fmla="*/ 0 h 1030"/>
              <a:gd name="T6" fmla="*/ 0 w 1149"/>
              <a:gd name="T7" fmla="*/ 515 h 1030"/>
              <a:gd name="T8" fmla="*/ 515 w 1149"/>
              <a:gd name="T9" fmla="*/ 1030 h 1030"/>
              <a:gd name="T10" fmla="*/ 1019 w 1149"/>
              <a:gd name="T11" fmla="*/ 618 h 1030"/>
              <a:gd name="T12" fmla="*/ 1149 w 1149"/>
              <a:gd name="T13" fmla="*/ 515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1030">
                <a:moveTo>
                  <a:pt x="1149" y="515"/>
                </a:moveTo>
                <a:cubicBezTo>
                  <a:pt x="1019" y="412"/>
                  <a:pt x="1019" y="412"/>
                  <a:pt x="1019" y="412"/>
                </a:cubicBezTo>
                <a:cubicBezTo>
                  <a:pt x="971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1" y="853"/>
                  <a:pt x="1019" y="618"/>
                </a:cubicBezTo>
                <a:lnTo>
                  <a:pt x="1149" y="515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Freeform 43">
            <a:extLst>
              <a:ext uri="{FF2B5EF4-FFF2-40B4-BE49-F238E27FC236}">
                <a16:creationId xmlns:a16="http://schemas.microsoft.com/office/drawing/2014/main" id="{AEAF0044-EA34-4D19-9C6B-A92EB14EA57F}"/>
              </a:ext>
            </a:extLst>
          </p:cNvPr>
          <p:cNvSpPr>
            <a:spLocks noEditPoints="1"/>
          </p:cNvSpPr>
          <p:nvPr/>
        </p:nvSpPr>
        <p:spPr bwMode="auto">
          <a:xfrm>
            <a:off x="5827490" y="2385797"/>
            <a:ext cx="2722124" cy="2444498"/>
          </a:xfrm>
          <a:custGeom>
            <a:avLst/>
            <a:gdLst>
              <a:gd name="T0" fmla="*/ 1019 w 1149"/>
              <a:gd name="T1" fmla="*/ 412 h 1030"/>
              <a:gd name="T2" fmla="*/ 515 w 1149"/>
              <a:gd name="T3" fmla="*/ 0 h 1030"/>
              <a:gd name="T4" fmla="*/ 0 w 1149"/>
              <a:gd name="T5" fmla="*/ 515 h 1030"/>
              <a:gd name="T6" fmla="*/ 515 w 1149"/>
              <a:gd name="T7" fmla="*/ 1030 h 1030"/>
              <a:gd name="T8" fmla="*/ 1019 w 1149"/>
              <a:gd name="T9" fmla="*/ 618 h 1030"/>
              <a:gd name="T10" fmla="*/ 1149 w 1149"/>
              <a:gd name="T11" fmla="*/ 515 h 1030"/>
              <a:gd name="T12" fmla="*/ 1019 w 1149"/>
              <a:gd name="T13" fmla="*/ 412 h 1030"/>
              <a:gd name="T14" fmla="*/ 515 w 1149"/>
              <a:gd name="T15" fmla="*/ 979 h 1030"/>
              <a:gd name="T16" fmla="*/ 51 w 1149"/>
              <a:gd name="T17" fmla="*/ 515 h 1030"/>
              <a:gd name="T18" fmla="*/ 515 w 1149"/>
              <a:gd name="T19" fmla="*/ 51 h 1030"/>
              <a:gd name="T20" fmla="*/ 979 w 1149"/>
              <a:gd name="T21" fmla="*/ 515 h 1030"/>
              <a:gd name="T22" fmla="*/ 515 w 1149"/>
              <a:gd name="T23" fmla="*/ 979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49" h="1030">
                <a:moveTo>
                  <a:pt x="1019" y="412"/>
                </a:moveTo>
                <a:cubicBezTo>
                  <a:pt x="971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1" y="853"/>
                  <a:pt x="1019" y="618"/>
                </a:cubicBezTo>
                <a:cubicBezTo>
                  <a:pt x="1149" y="515"/>
                  <a:pt x="1149" y="515"/>
                  <a:pt x="1149" y="515"/>
                </a:cubicBezTo>
                <a:lnTo>
                  <a:pt x="1019" y="412"/>
                </a:lnTo>
                <a:close/>
                <a:moveTo>
                  <a:pt x="515" y="979"/>
                </a:moveTo>
                <a:cubicBezTo>
                  <a:pt x="259" y="979"/>
                  <a:pt x="51" y="771"/>
                  <a:pt x="51" y="515"/>
                </a:cubicBezTo>
                <a:cubicBezTo>
                  <a:pt x="51" y="259"/>
                  <a:pt x="259" y="51"/>
                  <a:pt x="515" y="51"/>
                </a:cubicBezTo>
                <a:cubicBezTo>
                  <a:pt x="771" y="51"/>
                  <a:pt x="979" y="259"/>
                  <a:pt x="979" y="515"/>
                </a:cubicBezTo>
                <a:cubicBezTo>
                  <a:pt x="979" y="771"/>
                  <a:pt x="771" y="979"/>
                  <a:pt x="515" y="979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Freeform 44">
            <a:extLst>
              <a:ext uri="{FF2B5EF4-FFF2-40B4-BE49-F238E27FC236}">
                <a16:creationId xmlns:a16="http://schemas.microsoft.com/office/drawing/2014/main" id="{19CE306B-9240-416F-913C-FC3CEFE4332D}"/>
              </a:ext>
            </a:extLst>
          </p:cNvPr>
          <p:cNvSpPr>
            <a:spLocks/>
          </p:cNvSpPr>
          <p:nvPr/>
        </p:nvSpPr>
        <p:spPr bwMode="auto">
          <a:xfrm>
            <a:off x="3785033" y="2385797"/>
            <a:ext cx="2719821" cy="2444498"/>
          </a:xfrm>
          <a:custGeom>
            <a:avLst/>
            <a:gdLst>
              <a:gd name="T0" fmla="*/ 1148 w 1148"/>
              <a:gd name="T1" fmla="*/ 515 h 1030"/>
              <a:gd name="T2" fmla="*/ 1019 w 1148"/>
              <a:gd name="T3" fmla="*/ 412 h 1030"/>
              <a:gd name="T4" fmla="*/ 515 w 1148"/>
              <a:gd name="T5" fmla="*/ 0 h 1030"/>
              <a:gd name="T6" fmla="*/ 0 w 1148"/>
              <a:gd name="T7" fmla="*/ 515 h 1030"/>
              <a:gd name="T8" fmla="*/ 515 w 1148"/>
              <a:gd name="T9" fmla="*/ 1030 h 1030"/>
              <a:gd name="T10" fmla="*/ 1019 w 1148"/>
              <a:gd name="T11" fmla="*/ 618 h 1030"/>
              <a:gd name="T12" fmla="*/ 1148 w 1148"/>
              <a:gd name="T13" fmla="*/ 515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8" h="1030">
                <a:moveTo>
                  <a:pt x="1148" y="515"/>
                </a:moveTo>
                <a:cubicBezTo>
                  <a:pt x="1019" y="412"/>
                  <a:pt x="1019" y="412"/>
                  <a:pt x="1019" y="412"/>
                </a:cubicBezTo>
                <a:cubicBezTo>
                  <a:pt x="971" y="177"/>
                  <a:pt x="763" y="0"/>
                  <a:pt x="515" y="0"/>
                </a:cubicBezTo>
                <a:cubicBezTo>
                  <a:pt x="230" y="0"/>
                  <a:pt x="0" y="231"/>
                  <a:pt x="0" y="515"/>
                </a:cubicBezTo>
                <a:cubicBezTo>
                  <a:pt x="0" y="799"/>
                  <a:pt x="230" y="1030"/>
                  <a:pt x="515" y="1030"/>
                </a:cubicBezTo>
                <a:cubicBezTo>
                  <a:pt x="763" y="1030"/>
                  <a:pt x="971" y="853"/>
                  <a:pt x="1019" y="618"/>
                </a:cubicBezTo>
                <a:lnTo>
                  <a:pt x="1148" y="515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Freeform 45">
            <a:extLst>
              <a:ext uri="{FF2B5EF4-FFF2-40B4-BE49-F238E27FC236}">
                <a16:creationId xmlns:a16="http://schemas.microsoft.com/office/drawing/2014/main" id="{89B94804-AD21-4318-B94D-E2CEDF3705E9}"/>
              </a:ext>
            </a:extLst>
          </p:cNvPr>
          <p:cNvSpPr>
            <a:spLocks noEditPoints="1"/>
          </p:cNvSpPr>
          <p:nvPr/>
        </p:nvSpPr>
        <p:spPr bwMode="auto">
          <a:xfrm>
            <a:off x="3785033" y="2385797"/>
            <a:ext cx="2719821" cy="2444498"/>
          </a:xfrm>
          <a:custGeom>
            <a:avLst/>
            <a:gdLst>
              <a:gd name="T0" fmla="*/ 1019 w 1148"/>
              <a:gd name="T1" fmla="*/ 412 h 1030"/>
              <a:gd name="T2" fmla="*/ 515 w 1148"/>
              <a:gd name="T3" fmla="*/ 0 h 1030"/>
              <a:gd name="T4" fmla="*/ 0 w 1148"/>
              <a:gd name="T5" fmla="*/ 515 h 1030"/>
              <a:gd name="T6" fmla="*/ 515 w 1148"/>
              <a:gd name="T7" fmla="*/ 1030 h 1030"/>
              <a:gd name="T8" fmla="*/ 1019 w 1148"/>
              <a:gd name="T9" fmla="*/ 618 h 1030"/>
              <a:gd name="T10" fmla="*/ 1148 w 1148"/>
              <a:gd name="T11" fmla="*/ 515 h 1030"/>
              <a:gd name="T12" fmla="*/ 1019 w 1148"/>
              <a:gd name="T13" fmla="*/ 412 h 1030"/>
              <a:gd name="T14" fmla="*/ 515 w 1148"/>
              <a:gd name="T15" fmla="*/ 979 h 1030"/>
              <a:gd name="T16" fmla="*/ 51 w 1148"/>
              <a:gd name="T17" fmla="*/ 515 h 1030"/>
              <a:gd name="T18" fmla="*/ 515 w 1148"/>
              <a:gd name="T19" fmla="*/ 51 h 1030"/>
              <a:gd name="T20" fmla="*/ 979 w 1148"/>
              <a:gd name="T21" fmla="*/ 515 h 1030"/>
              <a:gd name="T22" fmla="*/ 515 w 1148"/>
              <a:gd name="T23" fmla="*/ 979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48" h="1030">
                <a:moveTo>
                  <a:pt x="1019" y="412"/>
                </a:moveTo>
                <a:cubicBezTo>
                  <a:pt x="971" y="177"/>
                  <a:pt x="763" y="0"/>
                  <a:pt x="515" y="0"/>
                </a:cubicBezTo>
                <a:cubicBezTo>
                  <a:pt x="230" y="0"/>
                  <a:pt x="0" y="231"/>
                  <a:pt x="0" y="515"/>
                </a:cubicBezTo>
                <a:cubicBezTo>
                  <a:pt x="0" y="799"/>
                  <a:pt x="230" y="1030"/>
                  <a:pt x="515" y="1030"/>
                </a:cubicBezTo>
                <a:cubicBezTo>
                  <a:pt x="763" y="1030"/>
                  <a:pt x="971" y="853"/>
                  <a:pt x="1019" y="618"/>
                </a:cubicBezTo>
                <a:cubicBezTo>
                  <a:pt x="1148" y="515"/>
                  <a:pt x="1148" y="515"/>
                  <a:pt x="1148" y="515"/>
                </a:cubicBezTo>
                <a:lnTo>
                  <a:pt x="1019" y="412"/>
                </a:lnTo>
                <a:close/>
                <a:moveTo>
                  <a:pt x="515" y="979"/>
                </a:moveTo>
                <a:cubicBezTo>
                  <a:pt x="258" y="979"/>
                  <a:pt x="51" y="771"/>
                  <a:pt x="51" y="515"/>
                </a:cubicBezTo>
                <a:cubicBezTo>
                  <a:pt x="51" y="259"/>
                  <a:pt x="258" y="51"/>
                  <a:pt x="515" y="51"/>
                </a:cubicBezTo>
                <a:cubicBezTo>
                  <a:pt x="771" y="51"/>
                  <a:pt x="979" y="259"/>
                  <a:pt x="979" y="515"/>
                </a:cubicBezTo>
                <a:cubicBezTo>
                  <a:pt x="979" y="771"/>
                  <a:pt x="771" y="979"/>
                  <a:pt x="515" y="979"/>
                </a:cubicBezTo>
                <a:close/>
              </a:path>
            </a:pathLst>
          </a:custGeom>
          <a:solidFill>
            <a:srgbClr val="F3698A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FA931A1D-C5AC-4682-89A7-0162CF15F61E}"/>
              </a:ext>
            </a:extLst>
          </p:cNvPr>
          <p:cNvSpPr>
            <a:spLocks/>
          </p:cNvSpPr>
          <p:nvPr/>
        </p:nvSpPr>
        <p:spPr bwMode="auto">
          <a:xfrm>
            <a:off x="1741424" y="2385797"/>
            <a:ext cx="2722124" cy="2444498"/>
          </a:xfrm>
          <a:custGeom>
            <a:avLst/>
            <a:gdLst>
              <a:gd name="T0" fmla="*/ 1149 w 1149"/>
              <a:gd name="T1" fmla="*/ 515 h 1030"/>
              <a:gd name="T2" fmla="*/ 1020 w 1149"/>
              <a:gd name="T3" fmla="*/ 412 h 1030"/>
              <a:gd name="T4" fmla="*/ 515 w 1149"/>
              <a:gd name="T5" fmla="*/ 0 h 1030"/>
              <a:gd name="T6" fmla="*/ 0 w 1149"/>
              <a:gd name="T7" fmla="*/ 515 h 1030"/>
              <a:gd name="T8" fmla="*/ 515 w 1149"/>
              <a:gd name="T9" fmla="*/ 1030 h 1030"/>
              <a:gd name="T10" fmla="*/ 1020 w 1149"/>
              <a:gd name="T11" fmla="*/ 618 h 1030"/>
              <a:gd name="T12" fmla="*/ 1149 w 1149"/>
              <a:gd name="T13" fmla="*/ 515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1030">
                <a:moveTo>
                  <a:pt x="1149" y="515"/>
                </a:moveTo>
                <a:cubicBezTo>
                  <a:pt x="1020" y="412"/>
                  <a:pt x="1020" y="412"/>
                  <a:pt x="1020" y="412"/>
                </a:cubicBezTo>
                <a:cubicBezTo>
                  <a:pt x="972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2" y="853"/>
                  <a:pt x="1020" y="618"/>
                </a:cubicBezTo>
                <a:lnTo>
                  <a:pt x="1149" y="515"/>
                </a:lnTo>
                <a:close/>
              </a:path>
            </a:pathLst>
          </a:cu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D9D9DA"/>
              </a:gs>
            </a:gsLst>
            <a:lin ang="2700000" scaled="1"/>
            <a:tileRect/>
          </a:gradFill>
          <a:ln w="19050">
            <a:gradFill flip="none" rotWithShape="1">
              <a:gsLst>
                <a:gs pos="100000">
                  <a:srgbClr val="FFFFFF"/>
                </a:gs>
                <a:gs pos="0">
                  <a:srgbClr val="D9D9DA"/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Freeform 47">
            <a:extLst>
              <a:ext uri="{FF2B5EF4-FFF2-40B4-BE49-F238E27FC236}">
                <a16:creationId xmlns:a16="http://schemas.microsoft.com/office/drawing/2014/main" id="{6102BEC2-710C-47E3-A603-03F1E7793459}"/>
              </a:ext>
            </a:extLst>
          </p:cNvPr>
          <p:cNvSpPr>
            <a:spLocks noEditPoints="1"/>
          </p:cNvSpPr>
          <p:nvPr/>
        </p:nvSpPr>
        <p:spPr bwMode="auto">
          <a:xfrm>
            <a:off x="1741424" y="2385797"/>
            <a:ext cx="2722124" cy="2444498"/>
          </a:xfrm>
          <a:custGeom>
            <a:avLst/>
            <a:gdLst>
              <a:gd name="T0" fmla="*/ 1020 w 1149"/>
              <a:gd name="T1" fmla="*/ 412 h 1030"/>
              <a:gd name="T2" fmla="*/ 515 w 1149"/>
              <a:gd name="T3" fmla="*/ 0 h 1030"/>
              <a:gd name="T4" fmla="*/ 0 w 1149"/>
              <a:gd name="T5" fmla="*/ 515 h 1030"/>
              <a:gd name="T6" fmla="*/ 515 w 1149"/>
              <a:gd name="T7" fmla="*/ 1030 h 1030"/>
              <a:gd name="T8" fmla="*/ 1020 w 1149"/>
              <a:gd name="T9" fmla="*/ 618 h 1030"/>
              <a:gd name="T10" fmla="*/ 1149 w 1149"/>
              <a:gd name="T11" fmla="*/ 515 h 1030"/>
              <a:gd name="T12" fmla="*/ 1020 w 1149"/>
              <a:gd name="T13" fmla="*/ 412 h 1030"/>
              <a:gd name="T14" fmla="*/ 515 w 1149"/>
              <a:gd name="T15" fmla="*/ 979 h 1030"/>
              <a:gd name="T16" fmla="*/ 51 w 1149"/>
              <a:gd name="T17" fmla="*/ 515 h 1030"/>
              <a:gd name="T18" fmla="*/ 515 w 1149"/>
              <a:gd name="T19" fmla="*/ 51 h 1030"/>
              <a:gd name="T20" fmla="*/ 979 w 1149"/>
              <a:gd name="T21" fmla="*/ 515 h 1030"/>
              <a:gd name="T22" fmla="*/ 515 w 1149"/>
              <a:gd name="T23" fmla="*/ 979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49" h="1030">
                <a:moveTo>
                  <a:pt x="1020" y="412"/>
                </a:moveTo>
                <a:cubicBezTo>
                  <a:pt x="972" y="177"/>
                  <a:pt x="764" y="0"/>
                  <a:pt x="515" y="0"/>
                </a:cubicBezTo>
                <a:cubicBezTo>
                  <a:pt x="231" y="0"/>
                  <a:pt x="0" y="231"/>
                  <a:pt x="0" y="515"/>
                </a:cubicBezTo>
                <a:cubicBezTo>
                  <a:pt x="0" y="799"/>
                  <a:pt x="231" y="1030"/>
                  <a:pt x="515" y="1030"/>
                </a:cubicBezTo>
                <a:cubicBezTo>
                  <a:pt x="764" y="1030"/>
                  <a:pt x="972" y="853"/>
                  <a:pt x="1020" y="618"/>
                </a:cubicBezTo>
                <a:cubicBezTo>
                  <a:pt x="1149" y="515"/>
                  <a:pt x="1149" y="515"/>
                  <a:pt x="1149" y="515"/>
                </a:cubicBezTo>
                <a:lnTo>
                  <a:pt x="1020" y="412"/>
                </a:lnTo>
                <a:close/>
                <a:moveTo>
                  <a:pt x="515" y="979"/>
                </a:moveTo>
                <a:cubicBezTo>
                  <a:pt x="259" y="979"/>
                  <a:pt x="51" y="771"/>
                  <a:pt x="51" y="515"/>
                </a:cubicBezTo>
                <a:cubicBezTo>
                  <a:pt x="51" y="259"/>
                  <a:pt x="259" y="51"/>
                  <a:pt x="515" y="51"/>
                </a:cubicBezTo>
                <a:cubicBezTo>
                  <a:pt x="771" y="51"/>
                  <a:pt x="979" y="259"/>
                  <a:pt x="979" y="515"/>
                </a:cubicBezTo>
                <a:cubicBezTo>
                  <a:pt x="979" y="771"/>
                  <a:pt x="771" y="979"/>
                  <a:pt x="515" y="979"/>
                </a:cubicBezTo>
                <a:close/>
              </a:path>
            </a:pathLst>
          </a:custGeom>
          <a:solidFill>
            <a:srgbClr val="F6AC40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" name="Freeform 48">
            <a:extLst>
              <a:ext uri="{FF2B5EF4-FFF2-40B4-BE49-F238E27FC236}">
                <a16:creationId xmlns:a16="http://schemas.microsoft.com/office/drawing/2014/main" id="{5A91EAC7-0FA2-4DD1-B480-3262C0BC4CCB}"/>
              </a:ext>
            </a:extLst>
          </p:cNvPr>
          <p:cNvSpPr>
            <a:spLocks noEditPoints="1"/>
          </p:cNvSpPr>
          <p:nvPr/>
        </p:nvSpPr>
        <p:spPr bwMode="auto">
          <a:xfrm>
            <a:off x="4746742" y="2896457"/>
            <a:ext cx="630518" cy="630518"/>
          </a:xfrm>
          <a:custGeom>
            <a:avLst/>
            <a:gdLst>
              <a:gd name="T0" fmla="*/ 152 w 152"/>
              <a:gd name="T1" fmla="*/ 88 h 152"/>
              <a:gd name="T2" fmla="*/ 152 w 152"/>
              <a:gd name="T3" fmla="*/ 64 h 152"/>
              <a:gd name="T4" fmla="*/ 138 w 152"/>
              <a:gd name="T5" fmla="*/ 64 h 152"/>
              <a:gd name="T6" fmla="*/ 128 w 152"/>
              <a:gd name="T7" fmla="*/ 40 h 152"/>
              <a:gd name="T8" fmla="*/ 138 w 152"/>
              <a:gd name="T9" fmla="*/ 31 h 152"/>
              <a:gd name="T10" fmla="*/ 121 w 152"/>
              <a:gd name="T11" fmla="*/ 14 h 152"/>
              <a:gd name="T12" fmla="*/ 111 w 152"/>
              <a:gd name="T13" fmla="*/ 24 h 152"/>
              <a:gd name="T14" fmla="*/ 88 w 152"/>
              <a:gd name="T15" fmla="*/ 14 h 152"/>
              <a:gd name="T16" fmla="*/ 88 w 152"/>
              <a:gd name="T17" fmla="*/ 0 h 152"/>
              <a:gd name="T18" fmla="*/ 64 w 152"/>
              <a:gd name="T19" fmla="*/ 0 h 152"/>
              <a:gd name="T20" fmla="*/ 64 w 152"/>
              <a:gd name="T21" fmla="*/ 14 h 152"/>
              <a:gd name="T22" fmla="*/ 41 w 152"/>
              <a:gd name="T23" fmla="*/ 24 h 152"/>
              <a:gd name="T24" fmla="*/ 31 w 152"/>
              <a:gd name="T25" fmla="*/ 14 h 152"/>
              <a:gd name="T26" fmla="*/ 14 w 152"/>
              <a:gd name="T27" fmla="*/ 31 h 152"/>
              <a:gd name="T28" fmla="*/ 24 w 152"/>
              <a:gd name="T29" fmla="*/ 40 h 152"/>
              <a:gd name="T30" fmla="*/ 14 w 152"/>
              <a:gd name="T31" fmla="*/ 64 h 152"/>
              <a:gd name="T32" fmla="*/ 0 w 152"/>
              <a:gd name="T33" fmla="*/ 64 h 152"/>
              <a:gd name="T34" fmla="*/ 0 w 152"/>
              <a:gd name="T35" fmla="*/ 88 h 152"/>
              <a:gd name="T36" fmla="*/ 14 w 152"/>
              <a:gd name="T37" fmla="*/ 88 h 152"/>
              <a:gd name="T38" fmla="*/ 24 w 152"/>
              <a:gd name="T39" fmla="*/ 111 h 152"/>
              <a:gd name="T40" fmla="*/ 14 w 152"/>
              <a:gd name="T41" fmla="*/ 121 h 152"/>
              <a:gd name="T42" fmla="*/ 31 w 152"/>
              <a:gd name="T43" fmla="*/ 138 h 152"/>
              <a:gd name="T44" fmla="*/ 41 w 152"/>
              <a:gd name="T45" fmla="*/ 128 h 152"/>
              <a:gd name="T46" fmla="*/ 64 w 152"/>
              <a:gd name="T47" fmla="*/ 138 h 152"/>
              <a:gd name="T48" fmla="*/ 64 w 152"/>
              <a:gd name="T49" fmla="*/ 152 h 152"/>
              <a:gd name="T50" fmla="*/ 88 w 152"/>
              <a:gd name="T51" fmla="*/ 152 h 152"/>
              <a:gd name="T52" fmla="*/ 88 w 152"/>
              <a:gd name="T53" fmla="*/ 138 h 152"/>
              <a:gd name="T54" fmla="*/ 111 w 152"/>
              <a:gd name="T55" fmla="*/ 128 h 152"/>
              <a:gd name="T56" fmla="*/ 121 w 152"/>
              <a:gd name="T57" fmla="*/ 138 h 152"/>
              <a:gd name="T58" fmla="*/ 138 w 152"/>
              <a:gd name="T59" fmla="*/ 121 h 152"/>
              <a:gd name="T60" fmla="*/ 128 w 152"/>
              <a:gd name="T61" fmla="*/ 111 h 152"/>
              <a:gd name="T62" fmla="*/ 138 w 152"/>
              <a:gd name="T63" fmla="*/ 88 h 152"/>
              <a:gd name="T64" fmla="*/ 152 w 152"/>
              <a:gd name="T65" fmla="*/ 88 h 152"/>
              <a:gd name="T66" fmla="*/ 76 w 152"/>
              <a:gd name="T67" fmla="*/ 115 h 152"/>
              <a:gd name="T68" fmla="*/ 37 w 152"/>
              <a:gd name="T69" fmla="*/ 76 h 152"/>
              <a:gd name="T70" fmla="*/ 76 w 152"/>
              <a:gd name="T71" fmla="*/ 37 h 152"/>
              <a:gd name="T72" fmla="*/ 115 w 152"/>
              <a:gd name="T73" fmla="*/ 76 h 152"/>
              <a:gd name="T74" fmla="*/ 76 w 152"/>
              <a:gd name="T75" fmla="*/ 115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52" h="152">
                <a:moveTo>
                  <a:pt x="152" y="88"/>
                </a:moveTo>
                <a:cubicBezTo>
                  <a:pt x="152" y="64"/>
                  <a:pt x="152" y="64"/>
                  <a:pt x="152" y="64"/>
                </a:cubicBezTo>
                <a:cubicBezTo>
                  <a:pt x="138" y="64"/>
                  <a:pt x="138" y="64"/>
                  <a:pt x="138" y="64"/>
                </a:cubicBezTo>
                <a:cubicBezTo>
                  <a:pt x="136" y="55"/>
                  <a:pt x="133" y="47"/>
                  <a:pt x="128" y="40"/>
                </a:cubicBezTo>
                <a:cubicBezTo>
                  <a:pt x="138" y="31"/>
                  <a:pt x="138" y="31"/>
                  <a:pt x="138" y="31"/>
                </a:cubicBezTo>
                <a:cubicBezTo>
                  <a:pt x="121" y="14"/>
                  <a:pt x="121" y="14"/>
                  <a:pt x="121" y="14"/>
                </a:cubicBezTo>
                <a:cubicBezTo>
                  <a:pt x="111" y="24"/>
                  <a:pt x="111" y="24"/>
                  <a:pt x="111" y="24"/>
                </a:cubicBezTo>
                <a:cubicBezTo>
                  <a:pt x="104" y="19"/>
                  <a:pt x="96" y="16"/>
                  <a:pt x="88" y="14"/>
                </a:cubicBezTo>
                <a:cubicBezTo>
                  <a:pt x="88" y="0"/>
                  <a:pt x="88" y="0"/>
                  <a:pt x="88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64" y="14"/>
                  <a:pt x="64" y="14"/>
                  <a:pt x="64" y="14"/>
                </a:cubicBezTo>
                <a:cubicBezTo>
                  <a:pt x="56" y="16"/>
                  <a:pt x="48" y="19"/>
                  <a:pt x="41" y="24"/>
                </a:cubicBezTo>
                <a:cubicBezTo>
                  <a:pt x="31" y="14"/>
                  <a:pt x="31" y="14"/>
                  <a:pt x="31" y="14"/>
                </a:cubicBezTo>
                <a:cubicBezTo>
                  <a:pt x="14" y="31"/>
                  <a:pt x="14" y="31"/>
                  <a:pt x="14" y="31"/>
                </a:cubicBezTo>
                <a:cubicBezTo>
                  <a:pt x="24" y="40"/>
                  <a:pt x="24" y="40"/>
                  <a:pt x="24" y="40"/>
                </a:cubicBezTo>
                <a:cubicBezTo>
                  <a:pt x="19" y="47"/>
                  <a:pt x="16" y="55"/>
                  <a:pt x="14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88"/>
                  <a:pt x="0" y="88"/>
                  <a:pt x="0" y="88"/>
                </a:cubicBezTo>
                <a:cubicBezTo>
                  <a:pt x="14" y="88"/>
                  <a:pt x="14" y="88"/>
                  <a:pt x="14" y="88"/>
                </a:cubicBezTo>
                <a:cubicBezTo>
                  <a:pt x="16" y="96"/>
                  <a:pt x="19" y="104"/>
                  <a:pt x="24" y="111"/>
                </a:cubicBezTo>
                <a:cubicBezTo>
                  <a:pt x="14" y="121"/>
                  <a:pt x="14" y="121"/>
                  <a:pt x="14" y="121"/>
                </a:cubicBezTo>
                <a:cubicBezTo>
                  <a:pt x="31" y="138"/>
                  <a:pt x="31" y="138"/>
                  <a:pt x="31" y="13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8" y="133"/>
                  <a:pt x="56" y="136"/>
                  <a:pt x="64" y="138"/>
                </a:cubicBezTo>
                <a:cubicBezTo>
                  <a:pt x="64" y="152"/>
                  <a:pt x="64" y="152"/>
                  <a:pt x="64" y="152"/>
                </a:cubicBezTo>
                <a:cubicBezTo>
                  <a:pt x="88" y="152"/>
                  <a:pt x="88" y="152"/>
                  <a:pt x="88" y="152"/>
                </a:cubicBezTo>
                <a:cubicBezTo>
                  <a:pt x="88" y="138"/>
                  <a:pt x="88" y="138"/>
                  <a:pt x="88" y="138"/>
                </a:cubicBezTo>
                <a:cubicBezTo>
                  <a:pt x="96" y="136"/>
                  <a:pt x="104" y="133"/>
                  <a:pt x="111" y="12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38" y="121"/>
                  <a:pt x="138" y="121"/>
                  <a:pt x="138" y="121"/>
                </a:cubicBezTo>
                <a:cubicBezTo>
                  <a:pt x="128" y="111"/>
                  <a:pt x="128" y="111"/>
                  <a:pt x="128" y="111"/>
                </a:cubicBezTo>
                <a:cubicBezTo>
                  <a:pt x="133" y="104"/>
                  <a:pt x="136" y="96"/>
                  <a:pt x="138" y="88"/>
                </a:cubicBezTo>
                <a:lnTo>
                  <a:pt x="152" y="88"/>
                </a:lnTo>
                <a:close/>
                <a:moveTo>
                  <a:pt x="76" y="115"/>
                </a:moveTo>
                <a:cubicBezTo>
                  <a:pt x="54" y="115"/>
                  <a:pt x="37" y="98"/>
                  <a:pt x="37" y="76"/>
                </a:cubicBezTo>
                <a:cubicBezTo>
                  <a:pt x="37" y="54"/>
                  <a:pt x="54" y="37"/>
                  <a:pt x="76" y="37"/>
                </a:cubicBezTo>
                <a:cubicBezTo>
                  <a:pt x="98" y="37"/>
                  <a:pt x="115" y="54"/>
                  <a:pt x="115" y="76"/>
                </a:cubicBezTo>
                <a:cubicBezTo>
                  <a:pt x="115" y="98"/>
                  <a:pt x="98" y="115"/>
                  <a:pt x="76" y="115"/>
                </a:cubicBezTo>
                <a:close/>
              </a:path>
            </a:pathLst>
          </a:custGeom>
          <a:solidFill>
            <a:srgbClr val="44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6" name="Freeform 49">
            <a:extLst>
              <a:ext uri="{FF2B5EF4-FFF2-40B4-BE49-F238E27FC236}">
                <a16:creationId xmlns:a16="http://schemas.microsoft.com/office/drawing/2014/main" id="{692C9E34-49A8-4C50-9B5E-54CFB576BFA7}"/>
              </a:ext>
            </a:extLst>
          </p:cNvPr>
          <p:cNvSpPr>
            <a:spLocks noEditPoints="1"/>
          </p:cNvSpPr>
          <p:nvPr/>
        </p:nvSpPr>
        <p:spPr bwMode="auto">
          <a:xfrm>
            <a:off x="6791923" y="2929969"/>
            <a:ext cx="596272" cy="527780"/>
          </a:xfrm>
          <a:custGeom>
            <a:avLst/>
            <a:gdLst>
              <a:gd name="T0" fmla="*/ 29 w 144"/>
              <a:gd name="T1" fmla="*/ 53 h 127"/>
              <a:gd name="T2" fmla="*/ 45 w 144"/>
              <a:gd name="T3" fmla="*/ 72 h 127"/>
              <a:gd name="T4" fmla="*/ 65 w 144"/>
              <a:gd name="T5" fmla="*/ 58 h 127"/>
              <a:gd name="T6" fmla="*/ 50 w 144"/>
              <a:gd name="T7" fmla="*/ 39 h 127"/>
              <a:gd name="T8" fmla="*/ 65 w 144"/>
              <a:gd name="T9" fmla="*/ 29 h 127"/>
              <a:gd name="T10" fmla="*/ 8 w 144"/>
              <a:gd name="T11" fmla="*/ 0 h 127"/>
              <a:gd name="T12" fmla="*/ 13 w 144"/>
              <a:gd name="T13" fmla="*/ 63 h 127"/>
              <a:gd name="T14" fmla="*/ 29 w 144"/>
              <a:gd name="T15" fmla="*/ 53 h 127"/>
              <a:gd name="T16" fmla="*/ 115 w 144"/>
              <a:gd name="T17" fmla="*/ 53 h 127"/>
              <a:gd name="T18" fmla="*/ 131 w 144"/>
              <a:gd name="T19" fmla="*/ 63 h 127"/>
              <a:gd name="T20" fmla="*/ 136 w 144"/>
              <a:gd name="T21" fmla="*/ 0 h 127"/>
              <a:gd name="T22" fmla="*/ 80 w 144"/>
              <a:gd name="T23" fmla="*/ 29 h 127"/>
              <a:gd name="T24" fmla="*/ 95 w 144"/>
              <a:gd name="T25" fmla="*/ 39 h 127"/>
              <a:gd name="T26" fmla="*/ 0 w 144"/>
              <a:gd name="T27" fmla="*/ 103 h 127"/>
              <a:gd name="T28" fmla="*/ 5 w 144"/>
              <a:gd name="T29" fmla="*/ 127 h 127"/>
              <a:gd name="T30" fmla="*/ 115 w 144"/>
              <a:gd name="T31" fmla="*/ 53 h 127"/>
              <a:gd name="T32" fmla="*/ 101 w 144"/>
              <a:gd name="T33" fmla="*/ 86 h 127"/>
              <a:gd name="T34" fmla="*/ 81 w 144"/>
              <a:gd name="T35" fmla="*/ 103 h 127"/>
              <a:gd name="T36" fmla="*/ 139 w 144"/>
              <a:gd name="T37" fmla="*/ 127 h 127"/>
              <a:gd name="T38" fmla="*/ 144 w 144"/>
              <a:gd name="T39" fmla="*/ 103 h 127"/>
              <a:gd name="T40" fmla="*/ 101 w 144"/>
              <a:gd name="T41" fmla="*/ 86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" h="127">
                <a:moveTo>
                  <a:pt x="29" y="53"/>
                </a:moveTo>
                <a:cubicBezTo>
                  <a:pt x="34" y="60"/>
                  <a:pt x="39" y="66"/>
                  <a:pt x="45" y="72"/>
                </a:cubicBezTo>
                <a:cubicBezTo>
                  <a:pt x="51" y="68"/>
                  <a:pt x="58" y="63"/>
                  <a:pt x="65" y="58"/>
                </a:cubicBezTo>
                <a:cubicBezTo>
                  <a:pt x="59" y="52"/>
                  <a:pt x="54" y="46"/>
                  <a:pt x="50" y="39"/>
                </a:cubicBezTo>
                <a:cubicBezTo>
                  <a:pt x="65" y="29"/>
                  <a:pt x="65" y="29"/>
                  <a:pt x="65" y="29"/>
                </a:cubicBezTo>
                <a:cubicBezTo>
                  <a:pt x="8" y="0"/>
                  <a:pt x="8" y="0"/>
                  <a:pt x="8" y="0"/>
                </a:cubicBezTo>
                <a:cubicBezTo>
                  <a:pt x="13" y="63"/>
                  <a:pt x="13" y="63"/>
                  <a:pt x="13" y="63"/>
                </a:cubicBezTo>
                <a:lnTo>
                  <a:pt x="29" y="53"/>
                </a:lnTo>
                <a:close/>
                <a:moveTo>
                  <a:pt x="115" y="53"/>
                </a:moveTo>
                <a:cubicBezTo>
                  <a:pt x="131" y="63"/>
                  <a:pt x="131" y="63"/>
                  <a:pt x="131" y="63"/>
                </a:cubicBezTo>
                <a:cubicBezTo>
                  <a:pt x="136" y="0"/>
                  <a:pt x="136" y="0"/>
                  <a:pt x="136" y="0"/>
                </a:cubicBezTo>
                <a:cubicBezTo>
                  <a:pt x="80" y="29"/>
                  <a:pt x="80" y="29"/>
                  <a:pt x="80" y="29"/>
                </a:cubicBezTo>
                <a:cubicBezTo>
                  <a:pt x="95" y="39"/>
                  <a:pt x="95" y="39"/>
                  <a:pt x="95" y="39"/>
                </a:cubicBezTo>
                <a:cubicBezTo>
                  <a:pt x="61" y="90"/>
                  <a:pt x="1" y="103"/>
                  <a:pt x="0" y="103"/>
                </a:cubicBezTo>
                <a:cubicBezTo>
                  <a:pt x="5" y="127"/>
                  <a:pt x="5" y="127"/>
                  <a:pt x="5" y="127"/>
                </a:cubicBezTo>
                <a:cubicBezTo>
                  <a:pt x="8" y="127"/>
                  <a:pt x="75" y="112"/>
                  <a:pt x="115" y="53"/>
                </a:cubicBezTo>
                <a:close/>
                <a:moveTo>
                  <a:pt x="101" y="86"/>
                </a:moveTo>
                <a:cubicBezTo>
                  <a:pt x="95" y="92"/>
                  <a:pt x="88" y="98"/>
                  <a:pt x="81" y="103"/>
                </a:cubicBezTo>
                <a:cubicBezTo>
                  <a:pt x="111" y="121"/>
                  <a:pt x="137" y="127"/>
                  <a:pt x="139" y="127"/>
                </a:cubicBezTo>
                <a:cubicBezTo>
                  <a:pt x="144" y="103"/>
                  <a:pt x="144" y="103"/>
                  <a:pt x="144" y="103"/>
                </a:cubicBezTo>
                <a:cubicBezTo>
                  <a:pt x="144" y="103"/>
                  <a:pt x="124" y="99"/>
                  <a:pt x="101" y="86"/>
                </a:cubicBezTo>
                <a:close/>
              </a:path>
            </a:pathLst>
          </a:custGeom>
          <a:solidFill>
            <a:srgbClr val="44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" name="Freeform 50">
            <a:extLst>
              <a:ext uri="{FF2B5EF4-FFF2-40B4-BE49-F238E27FC236}">
                <a16:creationId xmlns:a16="http://schemas.microsoft.com/office/drawing/2014/main" id="{E5B3ABB2-1231-45FA-A96E-5E10E539ADF5}"/>
              </a:ext>
            </a:extLst>
          </p:cNvPr>
          <p:cNvSpPr>
            <a:spLocks/>
          </p:cNvSpPr>
          <p:nvPr/>
        </p:nvSpPr>
        <p:spPr bwMode="auto">
          <a:xfrm>
            <a:off x="8867460" y="2922933"/>
            <a:ext cx="495552" cy="582170"/>
          </a:xfrm>
          <a:custGeom>
            <a:avLst/>
            <a:gdLst>
              <a:gd name="T0" fmla="*/ 74 w 120"/>
              <a:gd name="T1" fmla="*/ 39 h 140"/>
              <a:gd name="T2" fmla="*/ 82 w 120"/>
              <a:gd name="T3" fmla="*/ 22 h 140"/>
              <a:gd name="T4" fmla="*/ 60 w 120"/>
              <a:gd name="T5" fmla="*/ 0 h 140"/>
              <a:gd name="T6" fmla="*/ 38 w 120"/>
              <a:gd name="T7" fmla="*/ 22 h 140"/>
              <a:gd name="T8" fmla="*/ 46 w 120"/>
              <a:gd name="T9" fmla="*/ 39 h 140"/>
              <a:gd name="T10" fmla="*/ 8 w 120"/>
              <a:gd name="T11" fmla="*/ 98 h 140"/>
              <a:gd name="T12" fmla="*/ 37 w 120"/>
              <a:gd name="T13" fmla="*/ 78 h 140"/>
              <a:gd name="T14" fmla="*/ 25 w 120"/>
              <a:gd name="T15" fmla="*/ 140 h 140"/>
              <a:gd name="T16" fmla="*/ 45 w 120"/>
              <a:gd name="T17" fmla="*/ 140 h 140"/>
              <a:gd name="T18" fmla="*/ 60 w 120"/>
              <a:gd name="T19" fmla="*/ 114 h 140"/>
              <a:gd name="T20" fmla="*/ 75 w 120"/>
              <a:gd name="T21" fmla="*/ 140 h 140"/>
              <a:gd name="T22" fmla="*/ 95 w 120"/>
              <a:gd name="T23" fmla="*/ 140 h 140"/>
              <a:gd name="T24" fmla="*/ 83 w 120"/>
              <a:gd name="T25" fmla="*/ 78 h 140"/>
              <a:gd name="T26" fmla="*/ 112 w 120"/>
              <a:gd name="T27" fmla="*/ 98 h 140"/>
              <a:gd name="T28" fmla="*/ 74 w 120"/>
              <a:gd name="T29" fmla="*/ 39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0" h="140">
                <a:moveTo>
                  <a:pt x="74" y="39"/>
                </a:moveTo>
                <a:cubicBezTo>
                  <a:pt x="78" y="35"/>
                  <a:pt x="82" y="29"/>
                  <a:pt x="82" y="22"/>
                </a:cubicBezTo>
                <a:cubicBezTo>
                  <a:pt x="82" y="10"/>
                  <a:pt x="72" y="0"/>
                  <a:pt x="60" y="0"/>
                </a:cubicBezTo>
                <a:cubicBezTo>
                  <a:pt x="48" y="0"/>
                  <a:pt x="38" y="10"/>
                  <a:pt x="38" y="22"/>
                </a:cubicBezTo>
                <a:cubicBezTo>
                  <a:pt x="38" y="29"/>
                  <a:pt x="42" y="35"/>
                  <a:pt x="46" y="39"/>
                </a:cubicBezTo>
                <a:cubicBezTo>
                  <a:pt x="24" y="46"/>
                  <a:pt x="0" y="91"/>
                  <a:pt x="8" y="98"/>
                </a:cubicBezTo>
                <a:cubicBezTo>
                  <a:pt x="15" y="105"/>
                  <a:pt x="27" y="91"/>
                  <a:pt x="37" y="78"/>
                </a:cubicBezTo>
                <a:cubicBezTo>
                  <a:pt x="32" y="99"/>
                  <a:pt x="27" y="121"/>
                  <a:pt x="25" y="140"/>
                </a:cubicBezTo>
                <a:cubicBezTo>
                  <a:pt x="45" y="140"/>
                  <a:pt x="45" y="140"/>
                  <a:pt x="45" y="140"/>
                </a:cubicBezTo>
                <a:cubicBezTo>
                  <a:pt x="45" y="129"/>
                  <a:pt x="52" y="114"/>
                  <a:pt x="60" y="114"/>
                </a:cubicBezTo>
                <a:cubicBezTo>
                  <a:pt x="68" y="114"/>
                  <a:pt x="75" y="129"/>
                  <a:pt x="75" y="140"/>
                </a:cubicBezTo>
                <a:cubicBezTo>
                  <a:pt x="95" y="140"/>
                  <a:pt x="95" y="140"/>
                  <a:pt x="95" y="140"/>
                </a:cubicBezTo>
                <a:cubicBezTo>
                  <a:pt x="93" y="121"/>
                  <a:pt x="88" y="99"/>
                  <a:pt x="83" y="78"/>
                </a:cubicBezTo>
                <a:cubicBezTo>
                  <a:pt x="93" y="91"/>
                  <a:pt x="105" y="105"/>
                  <a:pt x="112" y="98"/>
                </a:cubicBezTo>
                <a:cubicBezTo>
                  <a:pt x="120" y="91"/>
                  <a:pt x="96" y="46"/>
                  <a:pt x="74" y="39"/>
                </a:cubicBezTo>
                <a:close/>
              </a:path>
            </a:pathLst>
          </a:custGeom>
          <a:solidFill>
            <a:srgbClr val="44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" name="Freeform 51">
            <a:extLst>
              <a:ext uri="{FF2B5EF4-FFF2-40B4-BE49-F238E27FC236}">
                <a16:creationId xmlns:a16="http://schemas.microsoft.com/office/drawing/2014/main" id="{47E22315-5D0C-4EB2-961A-03865F8C1053}"/>
              </a:ext>
            </a:extLst>
          </p:cNvPr>
          <p:cNvSpPr>
            <a:spLocks/>
          </p:cNvSpPr>
          <p:nvPr/>
        </p:nvSpPr>
        <p:spPr bwMode="auto">
          <a:xfrm>
            <a:off x="2396194" y="2934588"/>
            <a:ext cx="1176430" cy="560012"/>
          </a:xfrm>
          <a:custGeom>
            <a:avLst/>
            <a:gdLst>
              <a:gd name="T0" fmla="*/ 584 w 584"/>
              <a:gd name="T1" fmla="*/ 0 h 278"/>
              <a:gd name="T2" fmla="*/ 449 w 584"/>
              <a:gd name="T3" fmla="*/ 31 h 278"/>
              <a:gd name="T4" fmla="*/ 469 w 584"/>
              <a:gd name="T5" fmla="*/ 62 h 278"/>
              <a:gd name="T6" fmla="*/ 278 w 584"/>
              <a:gd name="T7" fmla="*/ 200 h 278"/>
              <a:gd name="T8" fmla="*/ 214 w 584"/>
              <a:gd name="T9" fmla="*/ 116 h 278"/>
              <a:gd name="T10" fmla="*/ 204 w 584"/>
              <a:gd name="T11" fmla="*/ 101 h 278"/>
              <a:gd name="T12" fmla="*/ 190 w 584"/>
              <a:gd name="T13" fmla="*/ 112 h 278"/>
              <a:gd name="T14" fmla="*/ 0 w 584"/>
              <a:gd name="T15" fmla="*/ 250 h 278"/>
              <a:gd name="T16" fmla="*/ 21 w 584"/>
              <a:gd name="T17" fmla="*/ 278 h 278"/>
              <a:gd name="T18" fmla="*/ 196 w 584"/>
              <a:gd name="T19" fmla="*/ 151 h 278"/>
              <a:gd name="T20" fmla="*/ 260 w 584"/>
              <a:gd name="T21" fmla="*/ 237 h 278"/>
              <a:gd name="T22" fmla="*/ 270 w 584"/>
              <a:gd name="T23" fmla="*/ 252 h 278"/>
              <a:gd name="T24" fmla="*/ 284 w 584"/>
              <a:gd name="T25" fmla="*/ 241 h 278"/>
              <a:gd name="T26" fmla="*/ 490 w 584"/>
              <a:gd name="T27" fmla="*/ 91 h 278"/>
              <a:gd name="T28" fmla="*/ 490 w 584"/>
              <a:gd name="T29" fmla="*/ 91 h 278"/>
              <a:gd name="T30" fmla="*/ 512 w 584"/>
              <a:gd name="T31" fmla="*/ 120 h 278"/>
              <a:gd name="T32" fmla="*/ 584 w 584"/>
              <a:gd name="T33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84" h="278">
                <a:moveTo>
                  <a:pt x="584" y="0"/>
                </a:moveTo>
                <a:lnTo>
                  <a:pt x="449" y="31"/>
                </a:lnTo>
                <a:lnTo>
                  <a:pt x="469" y="62"/>
                </a:lnTo>
                <a:lnTo>
                  <a:pt x="278" y="200"/>
                </a:lnTo>
                <a:lnTo>
                  <a:pt x="214" y="116"/>
                </a:lnTo>
                <a:lnTo>
                  <a:pt x="204" y="101"/>
                </a:lnTo>
                <a:lnTo>
                  <a:pt x="190" y="112"/>
                </a:lnTo>
                <a:lnTo>
                  <a:pt x="0" y="250"/>
                </a:lnTo>
                <a:lnTo>
                  <a:pt x="21" y="278"/>
                </a:lnTo>
                <a:lnTo>
                  <a:pt x="196" y="151"/>
                </a:lnTo>
                <a:lnTo>
                  <a:pt x="260" y="237"/>
                </a:lnTo>
                <a:lnTo>
                  <a:pt x="270" y="252"/>
                </a:lnTo>
                <a:lnTo>
                  <a:pt x="284" y="241"/>
                </a:lnTo>
                <a:lnTo>
                  <a:pt x="490" y="91"/>
                </a:lnTo>
                <a:lnTo>
                  <a:pt x="490" y="91"/>
                </a:lnTo>
                <a:lnTo>
                  <a:pt x="512" y="120"/>
                </a:lnTo>
                <a:lnTo>
                  <a:pt x="584" y="0"/>
                </a:lnTo>
                <a:close/>
              </a:path>
            </a:pathLst>
          </a:custGeom>
          <a:solidFill>
            <a:srgbClr val="4444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027E0F83-B8D4-42E2-BD8E-25AC05659E7D}"/>
              </a:ext>
            </a:extLst>
          </p:cNvPr>
          <p:cNvSpPr txBox="1"/>
          <p:nvPr/>
        </p:nvSpPr>
        <p:spPr>
          <a:xfrm>
            <a:off x="2274118" y="3539360"/>
            <a:ext cx="14205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400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altLang="zh-CN" dirty="0"/>
              <a:t>Step 1</a:t>
            </a:r>
            <a:endParaRPr lang="zh-CN" altLang="en-US" dirty="0"/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5BA11D4-A0A3-4A82-B459-5F552C0120F4}"/>
              </a:ext>
            </a:extLst>
          </p:cNvPr>
          <p:cNvSpPr txBox="1"/>
          <p:nvPr/>
        </p:nvSpPr>
        <p:spPr>
          <a:xfrm>
            <a:off x="4355934" y="3539360"/>
            <a:ext cx="14830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400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altLang="zh-CN" dirty="0"/>
              <a:t>Step 2</a:t>
            </a:r>
            <a:endParaRPr lang="zh-CN" altLang="en-US" dirty="0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9BC169C3-3178-410A-844F-9E659701719D}"/>
              </a:ext>
            </a:extLst>
          </p:cNvPr>
          <p:cNvSpPr txBox="1"/>
          <p:nvPr/>
        </p:nvSpPr>
        <p:spPr>
          <a:xfrm>
            <a:off x="6437750" y="3539360"/>
            <a:ext cx="14975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400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altLang="zh-CN" dirty="0"/>
              <a:t>Step 3</a:t>
            </a:r>
            <a:endParaRPr lang="zh-CN" altLang="en-US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B431B0C7-0649-40C1-BBD7-799897DD879E}"/>
              </a:ext>
            </a:extLst>
          </p:cNvPr>
          <p:cNvSpPr txBox="1"/>
          <p:nvPr/>
        </p:nvSpPr>
        <p:spPr>
          <a:xfrm>
            <a:off x="8519567" y="3539360"/>
            <a:ext cx="14814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4000">
                <a:solidFill>
                  <a:srgbClr val="605E5E"/>
                </a:solidFill>
                <a:latin typeface="Impact" panose="020B080603090205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altLang="zh-CN" dirty="0"/>
              <a:t>Step 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3599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DD961890-42E0-4CC9-9BB6-0BDA706037DD}"/>
              </a:ext>
            </a:extLst>
          </p:cNvPr>
          <p:cNvGrpSpPr/>
          <p:nvPr/>
        </p:nvGrpSpPr>
        <p:grpSpPr>
          <a:xfrm>
            <a:off x="3684986" y="167331"/>
            <a:ext cx="5594403" cy="6523338"/>
            <a:chOff x="6165539" y="89092"/>
            <a:chExt cx="5594403" cy="6523338"/>
          </a:xfrm>
        </p:grpSpPr>
        <p:sp>
          <p:nvSpPr>
            <p:cNvPr id="172" name="Freeform 10">
              <a:extLst>
                <a:ext uri="{FF2B5EF4-FFF2-40B4-BE49-F238E27FC236}">
                  <a16:creationId xmlns:a16="http://schemas.microsoft.com/office/drawing/2014/main" id="{BA59E56C-9EDD-4DD9-A954-E899EEB17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539" y="89092"/>
              <a:ext cx="5594403" cy="6523338"/>
            </a:xfrm>
            <a:custGeom>
              <a:avLst/>
              <a:gdLst>
                <a:gd name="T0" fmla="*/ 432 w 680"/>
                <a:gd name="T1" fmla="*/ 430 h 794"/>
                <a:gd name="T2" fmla="*/ 461 w 680"/>
                <a:gd name="T3" fmla="*/ 417 h 794"/>
                <a:gd name="T4" fmla="*/ 573 w 680"/>
                <a:gd name="T5" fmla="*/ 504 h 794"/>
                <a:gd name="T6" fmla="*/ 573 w 680"/>
                <a:gd name="T7" fmla="*/ 290 h 794"/>
                <a:gd name="T8" fmla="*/ 461 w 680"/>
                <a:gd name="T9" fmla="*/ 377 h 794"/>
                <a:gd name="T10" fmla="*/ 432 w 680"/>
                <a:gd name="T11" fmla="*/ 365 h 794"/>
                <a:gd name="T12" fmla="*/ 355 w 680"/>
                <a:gd name="T13" fmla="*/ 336 h 794"/>
                <a:gd name="T14" fmla="*/ 369 w 680"/>
                <a:gd name="T15" fmla="*/ 253 h 794"/>
                <a:gd name="T16" fmla="*/ 356 w 680"/>
                <a:gd name="T17" fmla="*/ 169 h 794"/>
                <a:gd name="T18" fmla="*/ 432 w 680"/>
                <a:gd name="T19" fmla="*/ 140 h 794"/>
                <a:gd name="T20" fmla="*/ 461 w 680"/>
                <a:gd name="T21" fmla="*/ 128 h 794"/>
                <a:gd name="T22" fmla="*/ 573 w 680"/>
                <a:gd name="T23" fmla="*/ 215 h 794"/>
                <a:gd name="T24" fmla="*/ 573 w 680"/>
                <a:gd name="T25" fmla="*/ 0 h 794"/>
                <a:gd name="T26" fmla="*/ 461 w 680"/>
                <a:gd name="T27" fmla="*/ 87 h 794"/>
                <a:gd name="T28" fmla="*/ 432 w 680"/>
                <a:gd name="T29" fmla="*/ 75 h 794"/>
                <a:gd name="T30" fmla="*/ 311 w 680"/>
                <a:gd name="T31" fmla="*/ 107 h 794"/>
                <a:gd name="T32" fmla="*/ 325 w 680"/>
                <a:gd name="T33" fmla="*/ 191 h 794"/>
                <a:gd name="T34" fmla="*/ 248 w 680"/>
                <a:gd name="T35" fmla="*/ 220 h 794"/>
                <a:gd name="T36" fmla="*/ 219 w 680"/>
                <a:gd name="T37" fmla="*/ 233 h 794"/>
                <a:gd name="T38" fmla="*/ 107 w 680"/>
                <a:gd name="T39" fmla="*/ 146 h 794"/>
                <a:gd name="T40" fmla="*/ 107 w 680"/>
                <a:gd name="T41" fmla="*/ 360 h 794"/>
                <a:gd name="T42" fmla="*/ 219 w 680"/>
                <a:gd name="T43" fmla="*/ 273 h 794"/>
                <a:gd name="T44" fmla="*/ 248 w 680"/>
                <a:gd name="T45" fmla="*/ 286 h 794"/>
                <a:gd name="T46" fmla="*/ 324 w 680"/>
                <a:gd name="T47" fmla="*/ 315 h 794"/>
                <a:gd name="T48" fmla="*/ 311 w 680"/>
                <a:gd name="T49" fmla="*/ 397 h 794"/>
                <a:gd name="T50" fmla="*/ 325 w 680"/>
                <a:gd name="T51" fmla="*/ 481 h 794"/>
                <a:gd name="T52" fmla="*/ 248 w 680"/>
                <a:gd name="T53" fmla="*/ 510 h 794"/>
                <a:gd name="T54" fmla="*/ 219 w 680"/>
                <a:gd name="T55" fmla="*/ 522 h 794"/>
                <a:gd name="T56" fmla="*/ 107 w 680"/>
                <a:gd name="T57" fmla="*/ 435 h 794"/>
                <a:gd name="T58" fmla="*/ 107 w 680"/>
                <a:gd name="T59" fmla="*/ 649 h 794"/>
                <a:gd name="T60" fmla="*/ 219 w 680"/>
                <a:gd name="T61" fmla="*/ 562 h 794"/>
                <a:gd name="T62" fmla="*/ 248 w 680"/>
                <a:gd name="T63" fmla="*/ 575 h 794"/>
                <a:gd name="T64" fmla="*/ 324 w 680"/>
                <a:gd name="T65" fmla="*/ 604 h 794"/>
                <a:gd name="T66" fmla="*/ 311 w 680"/>
                <a:gd name="T67" fmla="*/ 687 h 794"/>
                <a:gd name="T68" fmla="*/ 432 w 680"/>
                <a:gd name="T69" fmla="*/ 719 h 794"/>
                <a:gd name="T70" fmla="*/ 461 w 680"/>
                <a:gd name="T71" fmla="*/ 707 h 794"/>
                <a:gd name="T72" fmla="*/ 573 w 680"/>
                <a:gd name="T73" fmla="*/ 794 h 794"/>
                <a:gd name="T74" fmla="*/ 573 w 680"/>
                <a:gd name="T75" fmla="*/ 580 h 794"/>
                <a:gd name="T76" fmla="*/ 461 w 680"/>
                <a:gd name="T77" fmla="*/ 667 h 794"/>
                <a:gd name="T78" fmla="*/ 432 w 680"/>
                <a:gd name="T79" fmla="*/ 654 h 794"/>
                <a:gd name="T80" fmla="*/ 355 w 680"/>
                <a:gd name="T81" fmla="*/ 625 h 794"/>
                <a:gd name="T82" fmla="*/ 369 w 680"/>
                <a:gd name="T83" fmla="*/ 542 h 794"/>
                <a:gd name="T84" fmla="*/ 356 w 680"/>
                <a:gd name="T85" fmla="*/ 459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80" h="794">
                  <a:moveTo>
                    <a:pt x="376" y="462"/>
                  </a:moveTo>
                  <a:cubicBezTo>
                    <a:pt x="400" y="462"/>
                    <a:pt x="421" y="449"/>
                    <a:pt x="432" y="430"/>
                  </a:cubicBezTo>
                  <a:cubicBezTo>
                    <a:pt x="432" y="430"/>
                    <a:pt x="439" y="417"/>
                    <a:pt x="445" y="417"/>
                  </a:cubicBezTo>
                  <a:cubicBezTo>
                    <a:pt x="461" y="417"/>
                    <a:pt x="461" y="417"/>
                    <a:pt x="461" y="417"/>
                  </a:cubicBezTo>
                  <a:cubicBezTo>
                    <a:pt x="468" y="417"/>
                    <a:pt x="472" y="434"/>
                    <a:pt x="472" y="434"/>
                  </a:cubicBezTo>
                  <a:cubicBezTo>
                    <a:pt x="487" y="475"/>
                    <a:pt x="527" y="504"/>
                    <a:pt x="573" y="504"/>
                  </a:cubicBezTo>
                  <a:cubicBezTo>
                    <a:pt x="632" y="504"/>
                    <a:pt x="680" y="456"/>
                    <a:pt x="680" y="397"/>
                  </a:cubicBezTo>
                  <a:cubicBezTo>
                    <a:pt x="680" y="338"/>
                    <a:pt x="632" y="290"/>
                    <a:pt x="573" y="290"/>
                  </a:cubicBezTo>
                  <a:cubicBezTo>
                    <a:pt x="527" y="290"/>
                    <a:pt x="487" y="319"/>
                    <a:pt x="472" y="361"/>
                  </a:cubicBezTo>
                  <a:cubicBezTo>
                    <a:pt x="472" y="361"/>
                    <a:pt x="468" y="377"/>
                    <a:pt x="461" y="377"/>
                  </a:cubicBezTo>
                  <a:cubicBezTo>
                    <a:pt x="445" y="377"/>
                    <a:pt x="445" y="377"/>
                    <a:pt x="445" y="377"/>
                  </a:cubicBezTo>
                  <a:cubicBezTo>
                    <a:pt x="439" y="377"/>
                    <a:pt x="432" y="365"/>
                    <a:pt x="432" y="365"/>
                  </a:cubicBezTo>
                  <a:cubicBezTo>
                    <a:pt x="421" y="345"/>
                    <a:pt x="400" y="332"/>
                    <a:pt x="376" y="332"/>
                  </a:cubicBezTo>
                  <a:cubicBezTo>
                    <a:pt x="369" y="332"/>
                    <a:pt x="362" y="334"/>
                    <a:pt x="355" y="336"/>
                  </a:cubicBezTo>
                  <a:cubicBezTo>
                    <a:pt x="340" y="307"/>
                    <a:pt x="340" y="307"/>
                    <a:pt x="340" y="307"/>
                  </a:cubicBezTo>
                  <a:cubicBezTo>
                    <a:pt x="358" y="295"/>
                    <a:pt x="369" y="276"/>
                    <a:pt x="369" y="253"/>
                  </a:cubicBezTo>
                  <a:cubicBezTo>
                    <a:pt x="369" y="231"/>
                    <a:pt x="358" y="211"/>
                    <a:pt x="341" y="199"/>
                  </a:cubicBezTo>
                  <a:cubicBezTo>
                    <a:pt x="356" y="169"/>
                    <a:pt x="356" y="169"/>
                    <a:pt x="356" y="169"/>
                  </a:cubicBezTo>
                  <a:cubicBezTo>
                    <a:pt x="362" y="171"/>
                    <a:pt x="369" y="172"/>
                    <a:pt x="376" y="172"/>
                  </a:cubicBezTo>
                  <a:cubicBezTo>
                    <a:pt x="400" y="172"/>
                    <a:pt x="421" y="160"/>
                    <a:pt x="432" y="140"/>
                  </a:cubicBezTo>
                  <a:cubicBezTo>
                    <a:pt x="432" y="140"/>
                    <a:pt x="439" y="128"/>
                    <a:pt x="445" y="128"/>
                  </a:cubicBezTo>
                  <a:cubicBezTo>
                    <a:pt x="461" y="128"/>
                    <a:pt x="461" y="128"/>
                    <a:pt x="461" y="128"/>
                  </a:cubicBezTo>
                  <a:cubicBezTo>
                    <a:pt x="468" y="128"/>
                    <a:pt x="472" y="144"/>
                    <a:pt x="472" y="144"/>
                  </a:cubicBezTo>
                  <a:cubicBezTo>
                    <a:pt x="487" y="185"/>
                    <a:pt x="527" y="215"/>
                    <a:pt x="573" y="215"/>
                  </a:cubicBezTo>
                  <a:cubicBezTo>
                    <a:pt x="632" y="215"/>
                    <a:pt x="680" y="167"/>
                    <a:pt x="680" y="107"/>
                  </a:cubicBezTo>
                  <a:cubicBezTo>
                    <a:pt x="680" y="48"/>
                    <a:pt x="632" y="0"/>
                    <a:pt x="573" y="0"/>
                  </a:cubicBezTo>
                  <a:cubicBezTo>
                    <a:pt x="527" y="0"/>
                    <a:pt x="487" y="30"/>
                    <a:pt x="472" y="71"/>
                  </a:cubicBezTo>
                  <a:cubicBezTo>
                    <a:pt x="472" y="71"/>
                    <a:pt x="468" y="87"/>
                    <a:pt x="461" y="87"/>
                  </a:cubicBezTo>
                  <a:cubicBezTo>
                    <a:pt x="445" y="87"/>
                    <a:pt x="445" y="87"/>
                    <a:pt x="445" y="87"/>
                  </a:cubicBezTo>
                  <a:cubicBezTo>
                    <a:pt x="439" y="87"/>
                    <a:pt x="432" y="75"/>
                    <a:pt x="432" y="75"/>
                  </a:cubicBezTo>
                  <a:cubicBezTo>
                    <a:pt x="421" y="55"/>
                    <a:pt x="400" y="42"/>
                    <a:pt x="376" y="42"/>
                  </a:cubicBezTo>
                  <a:cubicBezTo>
                    <a:pt x="340" y="42"/>
                    <a:pt x="311" y="72"/>
                    <a:pt x="311" y="107"/>
                  </a:cubicBezTo>
                  <a:cubicBezTo>
                    <a:pt x="311" y="130"/>
                    <a:pt x="322" y="150"/>
                    <a:pt x="340" y="162"/>
                  </a:cubicBezTo>
                  <a:cubicBezTo>
                    <a:pt x="325" y="191"/>
                    <a:pt x="325" y="191"/>
                    <a:pt x="325" y="191"/>
                  </a:cubicBezTo>
                  <a:cubicBezTo>
                    <a:pt x="318" y="189"/>
                    <a:pt x="311" y="188"/>
                    <a:pt x="304" y="188"/>
                  </a:cubicBezTo>
                  <a:cubicBezTo>
                    <a:pt x="280" y="188"/>
                    <a:pt x="259" y="201"/>
                    <a:pt x="248" y="220"/>
                  </a:cubicBezTo>
                  <a:cubicBezTo>
                    <a:pt x="248" y="220"/>
                    <a:pt x="242" y="233"/>
                    <a:pt x="235" y="233"/>
                  </a:cubicBezTo>
                  <a:cubicBezTo>
                    <a:pt x="219" y="233"/>
                    <a:pt x="219" y="233"/>
                    <a:pt x="219" y="233"/>
                  </a:cubicBezTo>
                  <a:cubicBezTo>
                    <a:pt x="212" y="233"/>
                    <a:pt x="208" y="216"/>
                    <a:pt x="208" y="216"/>
                  </a:cubicBezTo>
                  <a:cubicBezTo>
                    <a:pt x="193" y="175"/>
                    <a:pt x="154" y="146"/>
                    <a:pt x="107" y="146"/>
                  </a:cubicBezTo>
                  <a:cubicBezTo>
                    <a:pt x="48" y="146"/>
                    <a:pt x="0" y="194"/>
                    <a:pt x="0" y="253"/>
                  </a:cubicBezTo>
                  <a:cubicBezTo>
                    <a:pt x="0" y="312"/>
                    <a:pt x="48" y="360"/>
                    <a:pt x="107" y="360"/>
                  </a:cubicBezTo>
                  <a:cubicBezTo>
                    <a:pt x="154" y="360"/>
                    <a:pt x="193" y="331"/>
                    <a:pt x="208" y="290"/>
                  </a:cubicBezTo>
                  <a:cubicBezTo>
                    <a:pt x="208" y="290"/>
                    <a:pt x="212" y="273"/>
                    <a:pt x="219" y="273"/>
                  </a:cubicBezTo>
                  <a:cubicBezTo>
                    <a:pt x="235" y="273"/>
                    <a:pt x="235" y="273"/>
                    <a:pt x="235" y="273"/>
                  </a:cubicBezTo>
                  <a:cubicBezTo>
                    <a:pt x="242" y="273"/>
                    <a:pt x="248" y="286"/>
                    <a:pt x="248" y="286"/>
                  </a:cubicBezTo>
                  <a:cubicBezTo>
                    <a:pt x="259" y="305"/>
                    <a:pt x="280" y="318"/>
                    <a:pt x="304" y="318"/>
                  </a:cubicBezTo>
                  <a:cubicBezTo>
                    <a:pt x="311" y="318"/>
                    <a:pt x="318" y="317"/>
                    <a:pt x="324" y="315"/>
                  </a:cubicBezTo>
                  <a:cubicBezTo>
                    <a:pt x="339" y="344"/>
                    <a:pt x="339" y="344"/>
                    <a:pt x="339" y="344"/>
                  </a:cubicBezTo>
                  <a:cubicBezTo>
                    <a:pt x="322" y="356"/>
                    <a:pt x="311" y="375"/>
                    <a:pt x="311" y="397"/>
                  </a:cubicBezTo>
                  <a:cubicBezTo>
                    <a:pt x="311" y="420"/>
                    <a:pt x="322" y="440"/>
                    <a:pt x="340" y="451"/>
                  </a:cubicBezTo>
                  <a:cubicBezTo>
                    <a:pt x="325" y="481"/>
                    <a:pt x="325" y="481"/>
                    <a:pt x="325" y="481"/>
                  </a:cubicBezTo>
                  <a:cubicBezTo>
                    <a:pt x="318" y="479"/>
                    <a:pt x="311" y="477"/>
                    <a:pt x="304" y="477"/>
                  </a:cubicBezTo>
                  <a:cubicBezTo>
                    <a:pt x="280" y="477"/>
                    <a:pt x="259" y="490"/>
                    <a:pt x="248" y="510"/>
                  </a:cubicBezTo>
                  <a:cubicBezTo>
                    <a:pt x="248" y="510"/>
                    <a:pt x="242" y="522"/>
                    <a:pt x="235" y="522"/>
                  </a:cubicBezTo>
                  <a:cubicBezTo>
                    <a:pt x="219" y="522"/>
                    <a:pt x="219" y="522"/>
                    <a:pt x="219" y="522"/>
                  </a:cubicBezTo>
                  <a:cubicBezTo>
                    <a:pt x="212" y="522"/>
                    <a:pt x="208" y="506"/>
                    <a:pt x="208" y="506"/>
                  </a:cubicBezTo>
                  <a:cubicBezTo>
                    <a:pt x="193" y="464"/>
                    <a:pt x="154" y="435"/>
                    <a:pt x="107" y="435"/>
                  </a:cubicBezTo>
                  <a:cubicBezTo>
                    <a:pt x="48" y="435"/>
                    <a:pt x="0" y="483"/>
                    <a:pt x="0" y="542"/>
                  </a:cubicBezTo>
                  <a:cubicBezTo>
                    <a:pt x="0" y="602"/>
                    <a:pt x="48" y="649"/>
                    <a:pt x="107" y="649"/>
                  </a:cubicBezTo>
                  <a:cubicBezTo>
                    <a:pt x="154" y="649"/>
                    <a:pt x="193" y="620"/>
                    <a:pt x="208" y="579"/>
                  </a:cubicBezTo>
                  <a:cubicBezTo>
                    <a:pt x="208" y="579"/>
                    <a:pt x="212" y="562"/>
                    <a:pt x="219" y="562"/>
                  </a:cubicBezTo>
                  <a:cubicBezTo>
                    <a:pt x="235" y="562"/>
                    <a:pt x="235" y="562"/>
                    <a:pt x="235" y="562"/>
                  </a:cubicBezTo>
                  <a:cubicBezTo>
                    <a:pt x="242" y="562"/>
                    <a:pt x="248" y="575"/>
                    <a:pt x="248" y="575"/>
                  </a:cubicBezTo>
                  <a:cubicBezTo>
                    <a:pt x="259" y="594"/>
                    <a:pt x="280" y="607"/>
                    <a:pt x="304" y="607"/>
                  </a:cubicBezTo>
                  <a:cubicBezTo>
                    <a:pt x="311" y="607"/>
                    <a:pt x="318" y="606"/>
                    <a:pt x="324" y="604"/>
                  </a:cubicBezTo>
                  <a:cubicBezTo>
                    <a:pt x="339" y="633"/>
                    <a:pt x="339" y="633"/>
                    <a:pt x="339" y="633"/>
                  </a:cubicBezTo>
                  <a:cubicBezTo>
                    <a:pt x="322" y="645"/>
                    <a:pt x="311" y="665"/>
                    <a:pt x="311" y="687"/>
                  </a:cubicBezTo>
                  <a:cubicBezTo>
                    <a:pt x="311" y="723"/>
                    <a:pt x="340" y="752"/>
                    <a:pt x="376" y="752"/>
                  </a:cubicBezTo>
                  <a:cubicBezTo>
                    <a:pt x="400" y="752"/>
                    <a:pt x="421" y="739"/>
                    <a:pt x="432" y="719"/>
                  </a:cubicBezTo>
                  <a:cubicBezTo>
                    <a:pt x="432" y="719"/>
                    <a:pt x="439" y="707"/>
                    <a:pt x="445" y="707"/>
                  </a:cubicBezTo>
                  <a:cubicBezTo>
                    <a:pt x="461" y="707"/>
                    <a:pt x="461" y="707"/>
                    <a:pt x="461" y="707"/>
                  </a:cubicBezTo>
                  <a:cubicBezTo>
                    <a:pt x="468" y="707"/>
                    <a:pt x="472" y="723"/>
                    <a:pt x="472" y="723"/>
                  </a:cubicBezTo>
                  <a:cubicBezTo>
                    <a:pt x="487" y="764"/>
                    <a:pt x="527" y="794"/>
                    <a:pt x="573" y="794"/>
                  </a:cubicBezTo>
                  <a:cubicBezTo>
                    <a:pt x="632" y="794"/>
                    <a:pt x="680" y="746"/>
                    <a:pt x="680" y="687"/>
                  </a:cubicBezTo>
                  <a:cubicBezTo>
                    <a:pt x="680" y="628"/>
                    <a:pt x="632" y="580"/>
                    <a:pt x="573" y="580"/>
                  </a:cubicBezTo>
                  <a:cubicBezTo>
                    <a:pt x="527" y="580"/>
                    <a:pt x="487" y="609"/>
                    <a:pt x="472" y="650"/>
                  </a:cubicBezTo>
                  <a:cubicBezTo>
                    <a:pt x="472" y="650"/>
                    <a:pt x="468" y="667"/>
                    <a:pt x="461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39" y="667"/>
                    <a:pt x="432" y="654"/>
                    <a:pt x="432" y="654"/>
                  </a:cubicBezTo>
                  <a:cubicBezTo>
                    <a:pt x="421" y="635"/>
                    <a:pt x="400" y="622"/>
                    <a:pt x="376" y="622"/>
                  </a:cubicBezTo>
                  <a:cubicBezTo>
                    <a:pt x="369" y="622"/>
                    <a:pt x="361" y="623"/>
                    <a:pt x="355" y="625"/>
                  </a:cubicBezTo>
                  <a:cubicBezTo>
                    <a:pt x="340" y="596"/>
                    <a:pt x="340" y="596"/>
                    <a:pt x="340" y="596"/>
                  </a:cubicBezTo>
                  <a:cubicBezTo>
                    <a:pt x="358" y="585"/>
                    <a:pt x="369" y="565"/>
                    <a:pt x="369" y="542"/>
                  </a:cubicBezTo>
                  <a:cubicBezTo>
                    <a:pt x="369" y="520"/>
                    <a:pt x="358" y="500"/>
                    <a:pt x="341" y="489"/>
                  </a:cubicBezTo>
                  <a:cubicBezTo>
                    <a:pt x="356" y="459"/>
                    <a:pt x="356" y="459"/>
                    <a:pt x="356" y="459"/>
                  </a:cubicBezTo>
                  <a:cubicBezTo>
                    <a:pt x="362" y="461"/>
                    <a:pt x="369" y="462"/>
                    <a:pt x="376" y="46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0CFCC"/>
                </a:gs>
                <a:gs pos="76000">
                  <a:schemeClr val="bg1">
                    <a:lumMod val="85000"/>
                  </a:schemeClr>
                </a:gs>
                <a:gs pos="100000">
                  <a:srgbClr val="FEFCFB"/>
                </a:gs>
              </a:gsLst>
              <a:lin ang="10800000" scaled="1"/>
              <a:tileRect/>
            </a:gra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blurRad="279400" dist="254000" dir="2700000" algn="tl" rotWithShape="0">
                <a:prstClr val="black">
                  <a:alpha val="28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73" name="图片 172">
              <a:extLst>
                <a:ext uri="{FF2B5EF4-FFF2-40B4-BE49-F238E27FC236}">
                  <a16:creationId xmlns:a16="http://schemas.microsoft.com/office/drawing/2014/main" id="{C0F75DCC-400A-4D71-A6FF-8A6EE24B7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7452" y="1421784"/>
              <a:ext cx="1494000" cy="1494000"/>
            </a:xfrm>
            <a:prstGeom prst="rect">
              <a:avLst/>
            </a:prstGeom>
            <a:effectLst>
              <a:outerShdw blurRad="266700" dist="127000" dir="2700000" sx="101000" sy="101000" algn="tl" rotWithShape="0">
                <a:prstClr val="black">
                  <a:alpha val="30000"/>
                </a:prstClr>
              </a:outerShdw>
            </a:effectLst>
          </p:spPr>
        </p:pic>
        <p:pic>
          <p:nvPicPr>
            <p:cNvPr id="174" name="图片 173">
              <a:extLst>
                <a:ext uri="{FF2B5EF4-FFF2-40B4-BE49-F238E27FC236}">
                  <a16:creationId xmlns:a16="http://schemas.microsoft.com/office/drawing/2014/main" id="{9A08F4DE-5CF5-4052-B594-90B4CFB2E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4290" y="584623"/>
              <a:ext cx="1371327" cy="5544000"/>
            </a:xfrm>
            <a:prstGeom prst="rect">
              <a:avLst/>
            </a:prstGeom>
            <a:effectLst>
              <a:outerShdw blurRad="266700" dist="127000" dir="2700000" sx="101000" sy="101000" algn="tl" rotWithShape="0">
                <a:prstClr val="black">
                  <a:alpha val="30000"/>
                </a:prstClr>
              </a:outerShdw>
            </a:effectLst>
          </p:spPr>
        </p:pic>
        <p:sp>
          <p:nvSpPr>
            <p:cNvPr id="175" name="椭圆 174">
              <a:extLst>
                <a:ext uri="{FF2B5EF4-FFF2-40B4-BE49-F238E27FC236}">
                  <a16:creationId xmlns:a16="http://schemas.microsoft.com/office/drawing/2014/main" id="{EE155A8C-F2CE-436C-9E9D-37F03A0BE5F0}"/>
                </a:ext>
              </a:extLst>
            </p:cNvPr>
            <p:cNvSpPr/>
            <p:nvPr/>
          </p:nvSpPr>
          <p:spPr>
            <a:xfrm>
              <a:off x="8849766" y="563728"/>
              <a:ext cx="813199" cy="813199"/>
            </a:xfrm>
            <a:prstGeom prst="ellipse">
              <a:avLst/>
            </a:prstGeom>
            <a:gradFill flip="none" rotWithShape="1">
              <a:gsLst>
                <a:gs pos="0">
                  <a:srgbClr val="F4962B"/>
                </a:gs>
                <a:gs pos="100000">
                  <a:srgbClr val="FED562"/>
                </a:gs>
              </a:gsLst>
              <a:lin ang="2700000" scaled="1"/>
              <a:tileRect/>
            </a:gradFill>
            <a:ln w="28575">
              <a:gradFill flip="none" rotWithShape="1">
                <a:gsLst>
                  <a:gs pos="0">
                    <a:srgbClr val="FED255"/>
                  </a:gs>
                  <a:gs pos="0">
                    <a:srgbClr val="F4962B"/>
                  </a:gs>
                  <a:gs pos="100000">
                    <a:srgbClr val="FED562"/>
                  </a:gs>
                </a:gsLst>
                <a:lin ang="13500000" scaled="0"/>
                <a:tileRect/>
              </a:gradFill>
            </a:ln>
            <a:effectLst>
              <a:outerShdw blurRad="228600" dist="101600" dir="2700000" algn="tl" rotWithShape="0">
                <a:prstClr val="black">
                  <a:alpha val="3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6" name="文本框 175">
              <a:extLst>
                <a:ext uri="{FF2B5EF4-FFF2-40B4-BE49-F238E27FC236}">
                  <a16:creationId xmlns:a16="http://schemas.microsoft.com/office/drawing/2014/main" id="{1E9D6118-6942-430D-B5B0-195E20509E69}"/>
                </a:ext>
              </a:extLst>
            </p:cNvPr>
            <p:cNvSpPr txBox="1"/>
            <p:nvPr/>
          </p:nvSpPr>
          <p:spPr>
            <a:xfrm>
              <a:off x="8988722" y="634533"/>
              <a:ext cx="535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gency FB" panose="020B0503020202020204" pitchFamily="34" charset="0"/>
                </a:rPr>
                <a:t>STEP</a:t>
              </a:r>
            </a:p>
          </p:txBody>
        </p:sp>
        <p:sp>
          <p:nvSpPr>
            <p:cNvPr id="177" name="文本框 176">
              <a:extLst>
                <a:ext uri="{FF2B5EF4-FFF2-40B4-BE49-F238E27FC236}">
                  <a16:creationId xmlns:a16="http://schemas.microsoft.com/office/drawing/2014/main" id="{D292D5F5-06B1-48B2-8E12-F62AE1BB7D25}"/>
                </a:ext>
              </a:extLst>
            </p:cNvPr>
            <p:cNvSpPr txBox="1"/>
            <p:nvPr/>
          </p:nvSpPr>
          <p:spPr>
            <a:xfrm>
              <a:off x="8988722" y="840599"/>
              <a:ext cx="51328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effectLst>
                    <a:outerShdw blurRad="177800" dist="101600" dir="2700000" algn="tl" rotWithShape="0">
                      <a:prstClr val="black">
                        <a:alpha val="37000"/>
                      </a:prstClr>
                    </a:outerShdw>
                  </a:effectLst>
                  <a:latin typeface="Impact" panose="020B0806030902050204" pitchFamily="34" charset="0"/>
                </a:rPr>
                <a:t>01</a:t>
              </a:r>
              <a:endParaRPr lang="zh-CN" altLang="en-US" sz="2800" dirty="0">
                <a:solidFill>
                  <a:schemeClr val="bg1"/>
                </a:solidFill>
                <a:effectLst>
                  <a:outerShdw blurRad="177800" dist="101600" dir="2700000" algn="tl" rotWithShape="0">
                    <a:prstClr val="black">
                      <a:alpha val="37000"/>
                    </a:prst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78" name="椭圆 177">
              <a:extLst>
                <a:ext uri="{FF2B5EF4-FFF2-40B4-BE49-F238E27FC236}">
                  <a16:creationId xmlns:a16="http://schemas.microsoft.com/office/drawing/2014/main" id="{0704D54B-5ADD-4118-B8C4-62ED6C003D1D}"/>
                </a:ext>
              </a:extLst>
            </p:cNvPr>
            <p:cNvSpPr/>
            <p:nvPr/>
          </p:nvSpPr>
          <p:spPr>
            <a:xfrm>
              <a:off x="10128082" y="4984355"/>
              <a:ext cx="1500202" cy="1500202"/>
            </a:xfrm>
            <a:prstGeom prst="ellipse">
              <a:avLst/>
            </a:prstGeom>
            <a:gradFill flip="none" rotWithShape="1">
              <a:gsLst>
                <a:gs pos="100000">
                  <a:srgbClr val="FFFFFF"/>
                </a:gs>
                <a:gs pos="0">
                  <a:srgbClr val="CECAC8"/>
                </a:gs>
              </a:gsLst>
              <a:lin ang="2700000" scaled="1"/>
              <a:tileRect/>
            </a:gradFill>
            <a:ln w="41275">
              <a:gradFill flip="none" rotWithShape="1">
                <a:gsLst>
                  <a:gs pos="100000">
                    <a:srgbClr val="FFFFFF"/>
                  </a:gs>
                  <a:gs pos="0">
                    <a:srgbClr val="CDCDCD"/>
                  </a:gs>
                </a:gsLst>
                <a:lin ang="13500000" scaled="1"/>
                <a:tileRect/>
              </a:gradFill>
            </a:ln>
            <a:effectLst>
              <a:outerShdw blurRad="292100" dist="152400" dir="2700000" sx="102000" sy="102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9" name="椭圆 178">
              <a:extLst>
                <a:ext uri="{FF2B5EF4-FFF2-40B4-BE49-F238E27FC236}">
                  <a16:creationId xmlns:a16="http://schemas.microsoft.com/office/drawing/2014/main" id="{ADBEB7A8-2EFA-4CC0-AD4C-2827972DBD89}"/>
                </a:ext>
              </a:extLst>
            </p:cNvPr>
            <p:cNvSpPr/>
            <p:nvPr/>
          </p:nvSpPr>
          <p:spPr>
            <a:xfrm>
              <a:off x="10128082" y="2605557"/>
              <a:ext cx="1500202" cy="1500202"/>
            </a:xfrm>
            <a:prstGeom prst="ellipse">
              <a:avLst/>
            </a:prstGeom>
            <a:gradFill flip="none" rotWithShape="1">
              <a:gsLst>
                <a:gs pos="100000">
                  <a:srgbClr val="FFFFFF"/>
                </a:gs>
                <a:gs pos="0">
                  <a:srgbClr val="CECAC8"/>
                </a:gs>
              </a:gsLst>
              <a:lin ang="2700000" scaled="1"/>
              <a:tileRect/>
            </a:gradFill>
            <a:ln w="41275">
              <a:gradFill flip="none" rotWithShape="1">
                <a:gsLst>
                  <a:gs pos="100000">
                    <a:srgbClr val="FFFFFF"/>
                  </a:gs>
                  <a:gs pos="0">
                    <a:srgbClr val="CDCDCD"/>
                  </a:gs>
                </a:gsLst>
                <a:lin ang="13500000" scaled="1"/>
                <a:tileRect/>
              </a:gradFill>
            </a:ln>
            <a:effectLst>
              <a:outerShdw blurRad="292100" dist="152400" dir="2700000" sx="102000" sy="102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0" name="椭圆 179">
              <a:extLst>
                <a:ext uri="{FF2B5EF4-FFF2-40B4-BE49-F238E27FC236}">
                  <a16:creationId xmlns:a16="http://schemas.microsoft.com/office/drawing/2014/main" id="{9E15D074-D0CB-4474-9114-45B5AC2DA136}"/>
                </a:ext>
              </a:extLst>
            </p:cNvPr>
            <p:cNvSpPr/>
            <p:nvPr/>
          </p:nvSpPr>
          <p:spPr>
            <a:xfrm>
              <a:off x="10128082" y="226759"/>
              <a:ext cx="1500202" cy="1500202"/>
            </a:xfrm>
            <a:prstGeom prst="ellipse">
              <a:avLst/>
            </a:prstGeom>
            <a:gradFill flip="none" rotWithShape="1">
              <a:gsLst>
                <a:gs pos="100000">
                  <a:srgbClr val="FFFFFF"/>
                </a:gs>
                <a:gs pos="0">
                  <a:srgbClr val="CECAC8"/>
                </a:gs>
              </a:gsLst>
              <a:lin ang="2700000" scaled="1"/>
              <a:tileRect/>
            </a:gradFill>
            <a:ln w="41275">
              <a:gradFill flip="none" rotWithShape="1">
                <a:gsLst>
                  <a:gs pos="100000">
                    <a:srgbClr val="FFFFFF"/>
                  </a:gs>
                  <a:gs pos="0">
                    <a:srgbClr val="CDCDCD"/>
                  </a:gs>
                </a:gsLst>
                <a:lin ang="13500000" scaled="1"/>
                <a:tileRect/>
              </a:gradFill>
            </a:ln>
            <a:effectLst>
              <a:outerShdw blurRad="292100" dist="152400" dir="2700000" sx="102000" sy="102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81" name="图片 180">
              <a:extLst>
                <a:ext uri="{FF2B5EF4-FFF2-40B4-BE49-F238E27FC236}">
                  <a16:creationId xmlns:a16="http://schemas.microsoft.com/office/drawing/2014/main" id="{A403252A-1E17-4B8D-959E-87FB3821D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7452" y="3800638"/>
              <a:ext cx="1494000" cy="1494000"/>
            </a:xfrm>
            <a:prstGeom prst="rect">
              <a:avLst/>
            </a:prstGeom>
            <a:effectLst>
              <a:outerShdw blurRad="266700" dist="127000" dir="2700000" sx="101000" sy="101000" algn="tl" rotWithShape="0">
                <a:prstClr val="black">
                  <a:alpha val="30000"/>
                </a:prstClr>
              </a:outerShdw>
            </a:effectLst>
          </p:spPr>
        </p:pic>
        <p:sp>
          <p:nvSpPr>
            <p:cNvPr id="182" name="文本框 181">
              <a:extLst>
                <a:ext uri="{FF2B5EF4-FFF2-40B4-BE49-F238E27FC236}">
                  <a16:creationId xmlns:a16="http://schemas.microsoft.com/office/drawing/2014/main" id="{0A9CFB6A-93BA-4DA6-B75A-CBE56114B9E5}"/>
                </a:ext>
              </a:extLst>
            </p:cNvPr>
            <p:cNvSpPr txBox="1"/>
            <p:nvPr/>
          </p:nvSpPr>
          <p:spPr>
            <a:xfrm>
              <a:off x="8402163" y="1837881"/>
              <a:ext cx="535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gency FB" panose="020B0503020202020204" pitchFamily="34" charset="0"/>
                </a:rPr>
                <a:t>STEP</a:t>
              </a:r>
            </a:p>
          </p:txBody>
        </p:sp>
        <p:sp>
          <p:nvSpPr>
            <p:cNvPr id="183" name="文本框 182">
              <a:extLst>
                <a:ext uri="{FF2B5EF4-FFF2-40B4-BE49-F238E27FC236}">
                  <a16:creationId xmlns:a16="http://schemas.microsoft.com/office/drawing/2014/main" id="{CE96DB0D-1020-4CAD-BC00-760F627CD40E}"/>
                </a:ext>
              </a:extLst>
            </p:cNvPr>
            <p:cNvSpPr txBox="1"/>
            <p:nvPr/>
          </p:nvSpPr>
          <p:spPr>
            <a:xfrm>
              <a:off x="8402163" y="2043947"/>
              <a:ext cx="5565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effectLst>
                    <a:outerShdw blurRad="177800" dist="101600" dir="2700000" algn="tl" rotWithShape="0">
                      <a:prstClr val="black">
                        <a:alpha val="37000"/>
                      </a:prstClr>
                    </a:outerShdw>
                  </a:effectLst>
                  <a:latin typeface="Impact" panose="020B0806030902050204" pitchFamily="34" charset="0"/>
                </a:rPr>
                <a:t>02</a:t>
              </a:r>
              <a:endParaRPr lang="zh-CN" altLang="en-US" sz="2800" dirty="0">
                <a:solidFill>
                  <a:schemeClr val="bg1"/>
                </a:solidFill>
                <a:effectLst>
                  <a:outerShdw blurRad="177800" dist="101600" dir="2700000" algn="tl" rotWithShape="0">
                    <a:prstClr val="black">
                      <a:alpha val="37000"/>
                    </a:prst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84" name="文本框 183">
              <a:extLst>
                <a:ext uri="{FF2B5EF4-FFF2-40B4-BE49-F238E27FC236}">
                  <a16:creationId xmlns:a16="http://schemas.microsoft.com/office/drawing/2014/main" id="{97F72DE0-7794-4067-85D1-7E943B9E5EFC}"/>
                </a:ext>
              </a:extLst>
            </p:cNvPr>
            <p:cNvSpPr txBox="1"/>
            <p:nvPr/>
          </p:nvSpPr>
          <p:spPr>
            <a:xfrm>
              <a:off x="8988431" y="3021209"/>
              <a:ext cx="535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gency FB" panose="020B0503020202020204" pitchFamily="34" charset="0"/>
                </a:rPr>
                <a:t>STEP</a:t>
              </a:r>
            </a:p>
          </p:txBody>
        </p:sp>
        <p:sp>
          <p:nvSpPr>
            <p:cNvPr id="185" name="文本框 184">
              <a:extLst>
                <a:ext uri="{FF2B5EF4-FFF2-40B4-BE49-F238E27FC236}">
                  <a16:creationId xmlns:a16="http://schemas.microsoft.com/office/drawing/2014/main" id="{99349037-D5E0-4AC9-A7F6-2B75877B1685}"/>
                </a:ext>
              </a:extLst>
            </p:cNvPr>
            <p:cNvSpPr txBox="1"/>
            <p:nvPr/>
          </p:nvSpPr>
          <p:spPr>
            <a:xfrm>
              <a:off x="8988431" y="3227275"/>
              <a:ext cx="5677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effectLst>
                    <a:outerShdw blurRad="177800" dist="101600" dir="2700000" algn="tl" rotWithShape="0">
                      <a:prstClr val="black">
                        <a:alpha val="37000"/>
                      </a:prstClr>
                    </a:outerShdw>
                  </a:effectLst>
                  <a:latin typeface="Impact" panose="020B0806030902050204" pitchFamily="34" charset="0"/>
                </a:rPr>
                <a:t>03</a:t>
              </a:r>
              <a:endParaRPr lang="zh-CN" altLang="en-US" sz="2800" dirty="0">
                <a:solidFill>
                  <a:schemeClr val="bg1"/>
                </a:solidFill>
                <a:effectLst>
                  <a:outerShdw blurRad="177800" dist="101600" dir="2700000" algn="tl" rotWithShape="0">
                    <a:prstClr val="black">
                      <a:alpha val="37000"/>
                    </a:prst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86" name="文本框 185">
              <a:extLst>
                <a:ext uri="{FF2B5EF4-FFF2-40B4-BE49-F238E27FC236}">
                  <a16:creationId xmlns:a16="http://schemas.microsoft.com/office/drawing/2014/main" id="{64B4FFFD-6417-4646-BCCA-179F475F8EC2}"/>
                </a:ext>
              </a:extLst>
            </p:cNvPr>
            <p:cNvSpPr txBox="1"/>
            <p:nvPr/>
          </p:nvSpPr>
          <p:spPr>
            <a:xfrm>
              <a:off x="8396917" y="4208016"/>
              <a:ext cx="535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gency FB" panose="020B0503020202020204" pitchFamily="34" charset="0"/>
                </a:rPr>
                <a:t>STEP</a:t>
              </a:r>
            </a:p>
          </p:txBody>
        </p:sp>
        <p:sp>
          <p:nvSpPr>
            <p:cNvPr id="187" name="文本框 186">
              <a:extLst>
                <a:ext uri="{FF2B5EF4-FFF2-40B4-BE49-F238E27FC236}">
                  <a16:creationId xmlns:a16="http://schemas.microsoft.com/office/drawing/2014/main" id="{7905F6B9-6737-4278-A452-06546771563D}"/>
                </a:ext>
              </a:extLst>
            </p:cNvPr>
            <p:cNvSpPr txBox="1"/>
            <p:nvPr/>
          </p:nvSpPr>
          <p:spPr>
            <a:xfrm>
              <a:off x="8396917" y="4414082"/>
              <a:ext cx="5565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effectLst>
                    <a:outerShdw blurRad="177800" dist="101600" dir="2700000" algn="tl" rotWithShape="0">
                      <a:prstClr val="black">
                        <a:alpha val="37000"/>
                      </a:prstClr>
                    </a:outerShdw>
                  </a:effectLst>
                  <a:latin typeface="Impact" panose="020B0806030902050204" pitchFamily="34" charset="0"/>
                </a:rPr>
                <a:t>04</a:t>
              </a:r>
              <a:endParaRPr lang="zh-CN" altLang="en-US" sz="2800" dirty="0">
                <a:solidFill>
                  <a:schemeClr val="bg1"/>
                </a:solidFill>
                <a:effectLst>
                  <a:outerShdw blurRad="177800" dist="101600" dir="2700000" algn="tl" rotWithShape="0">
                    <a:prstClr val="black">
                      <a:alpha val="37000"/>
                    </a:prst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88" name="文本框 187">
              <a:extLst>
                <a:ext uri="{FF2B5EF4-FFF2-40B4-BE49-F238E27FC236}">
                  <a16:creationId xmlns:a16="http://schemas.microsoft.com/office/drawing/2014/main" id="{CF324D0E-5B48-451C-8CE4-43D388825876}"/>
                </a:ext>
              </a:extLst>
            </p:cNvPr>
            <p:cNvSpPr txBox="1"/>
            <p:nvPr/>
          </p:nvSpPr>
          <p:spPr>
            <a:xfrm>
              <a:off x="8985389" y="5407472"/>
              <a:ext cx="535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gency FB" panose="020B0503020202020204" pitchFamily="34" charset="0"/>
                </a:rPr>
                <a:t>STEP</a:t>
              </a:r>
            </a:p>
          </p:txBody>
        </p:sp>
        <p:sp>
          <p:nvSpPr>
            <p:cNvPr id="189" name="文本框 188">
              <a:extLst>
                <a:ext uri="{FF2B5EF4-FFF2-40B4-BE49-F238E27FC236}">
                  <a16:creationId xmlns:a16="http://schemas.microsoft.com/office/drawing/2014/main" id="{1404EB1D-3B42-4C96-9C9E-05E824EF0E4F}"/>
                </a:ext>
              </a:extLst>
            </p:cNvPr>
            <p:cNvSpPr txBox="1"/>
            <p:nvPr/>
          </p:nvSpPr>
          <p:spPr>
            <a:xfrm>
              <a:off x="8985389" y="5613538"/>
              <a:ext cx="5693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effectLst>
                    <a:outerShdw blurRad="177800" dist="101600" dir="2700000" algn="tl" rotWithShape="0">
                      <a:prstClr val="black">
                        <a:alpha val="37000"/>
                      </a:prstClr>
                    </a:outerShdw>
                  </a:effectLst>
                  <a:latin typeface="Impact" panose="020B0806030902050204" pitchFamily="34" charset="0"/>
                </a:rPr>
                <a:t>05</a:t>
              </a:r>
              <a:endParaRPr lang="zh-CN" altLang="en-US" sz="2800" dirty="0">
                <a:solidFill>
                  <a:schemeClr val="bg1"/>
                </a:solidFill>
                <a:effectLst>
                  <a:outerShdw blurRad="177800" dist="101600" dir="2700000" algn="tl" rotWithShape="0">
                    <a:prstClr val="black">
                      <a:alpha val="37000"/>
                    </a:prst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90" name="Freeform 95">
              <a:extLst>
                <a:ext uri="{FF2B5EF4-FFF2-40B4-BE49-F238E27FC236}">
                  <a16:creationId xmlns:a16="http://schemas.microsoft.com/office/drawing/2014/main" id="{6D347E30-CD33-4386-8E20-163FAA0C3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02" y="610888"/>
              <a:ext cx="810535" cy="900477"/>
            </a:xfrm>
            <a:custGeom>
              <a:avLst/>
              <a:gdLst>
                <a:gd name="T0" fmla="*/ 134 w 240"/>
                <a:gd name="T1" fmla="*/ 240 h 240"/>
                <a:gd name="T2" fmla="*/ 240 w 240"/>
                <a:gd name="T3" fmla="*/ 0 h 240"/>
                <a:gd name="T4" fmla="*/ 0 w 240"/>
                <a:gd name="T5" fmla="*/ 106 h 240"/>
                <a:gd name="T6" fmla="*/ 118 w 240"/>
                <a:gd name="T7" fmla="*/ 122 h 240"/>
                <a:gd name="T8" fmla="*/ 134 w 240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0">
                  <a:moveTo>
                    <a:pt x="134" y="240"/>
                  </a:moveTo>
                  <a:lnTo>
                    <a:pt x="240" y="0"/>
                  </a:lnTo>
                  <a:lnTo>
                    <a:pt x="0" y="106"/>
                  </a:lnTo>
                  <a:lnTo>
                    <a:pt x="118" y="122"/>
                  </a:lnTo>
                  <a:lnTo>
                    <a:pt x="134" y="240"/>
                  </a:lnTo>
                  <a:close/>
                </a:path>
              </a:pathLst>
            </a:custGeom>
            <a:noFill/>
            <a:ln w="25400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191" name="组合 190">
              <a:extLst>
                <a:ext uri="{FF2B5EF4-FFF2-40B4-BE49-F238E27FC236}">
                  <a16:creationId xmlns:a16="http://schemas.microsoft.com/office/drawing/2014/main" id="{45B94B28-31B6-40FE-B1B2-BA166FEE9766}"/>
                </a:ext>
              </a:extLst>
            </p:cNvPr>
            <p:cNvGrpSpPr/>
            <p:nvPr/>
          </p:nvGrpSpPr>
          <p:grpSpPr>
            <a:xfrm>
              <a:off x="6651621" y="1894889"/>
              <a:ext cx="810535" cy="547790"/>
              <a:chOff x="9840913" y="4719638"/>
              <a:chExt cx="381000" cy="231775"/>
            </a:xfrm>
          </p:grpSpPr>
          <p:sp>
            <p:nvSpPr>
              <p:cNvPr id="192" name="Freeform 96">
                <a:extLst>
                  <a:ext uri="{FF2B5EF4-FFF2-40B4-BE49-F238E27FC236}">
                    <a16:creationId xmlns:a16="http://schemas.microsoft.com/office/drawing/2014/main" id="{139E520F-9F90-4F9B-AA86-04F57945F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40913" y="4719638"/>
                <a:ext cx="381000" cy="133350"/>
              </a:xfrm>
              <a:custGeom>
                <a:avLst/>
                <a:gdLst>
                  <a:gd name="T0" fmla="*/ 0 w 240"/>
                  <a:gd name="T1" fmla="*/ 0 h 84"/>
                  <a:gd name="T2" fmla="*/ 120 w 240"/>
                  <a:gd name="T3" fmla="*/ 84 h 84"/>
                  <a:gd name="T4" fmla="*/ 240 w 240"/>
                  <a:gd name="T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84">
                    <a:moveTo>
                      <a:pt x="0" y="0"/>
                    </a:moveTo>
                    <a:lnTo>
                      <a:pt x="120" y="84"/>
                    </a:lnTo>
                    <a:lnTo>
                      <a:pt x="240" y="0"/>
                    </a:ln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3" name="Rectangle 97">
                <a:extLst>
                  <a:ext uri="{FF2B5EF4-FFF2-40B4-BE49-F238E27FC236}">
                    <a16:creationId xmlns:a16="http://schemas.microsoft.com/office/drawing/2014/main" id="{1DB44DB0-954D-4DD2-8966-0E4B45208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40913" y="4719638"/>
                <a:ext cx="381000" cy="231775"/>
              </a:xfrm>
              <a:prstGeom prst="rect">
                <a:avLst/>
              </a:pr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94" name="组合 193">
              <a:extLst>
                <a:ext uri="{FF2B5EF4-FFF2-40B4-BE49-F238E27FC236}">
                  <a16:creationId xmlns:a16="http://schemas.microsoft.com/office/drawing/2014/main" id="{14367780-62AB-47CD-ADCC-2058E96AAAD2}"/>
                </a:ext>
              </a:extLst>
            </p:cNvPr>
            <p:cNvGrpSpPr/>
            <p:nvPr/>
          </p:nvGrpSpPr>
          <p:grpSpPr>
            <a:xfrm>
              <a:off x="10491929" y="5423041"/>
              <a:ext cx="810535" cy="622830"/>
              <a:chOff x="6465888" y="4700588"/>
              <a:chExt cx="381000" cy="263525"/>
            </a:xfrm>
          </p:grpSpPr>
          <p:sp>
            <p:nvSpPr>
              <p:cNvPr id="195" name="Freeform 109">
                <a:extLst>
                  <a:ext uri="{FF2B5EF4-FFF2-40B4-BE49-F238E27FC236}">
                    <a16:creationId xmlns:a16="http://schemas.microsoft.com/office/drawing/2014/main" id="{70B9EA40-8E95-42D6-B9BA-3C3E32788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4700588"/>
                <a:ext cx="381000" cy="88900"/>
              </a:xfrm>
              <a:custGeom>
                <a:avLst/>
                <a:gdLst>
                  <a:gd name="T0" fmla="*/ 0 w 120"/>
                  <a:gd name="T1" fmla="*/ 28 h 28"/>
                  <a:gd name="T2" fmla="*/ 60 w 120"/>
                  <a:gd name="T3" fmla="*/ 0 h 28"/>
                  <a:gd name="T4" fmla="*/ 120 w 120"/>
                  <a:gd name="T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8">
                    <a:moveTo>
                      <a:pt x="0" y="28"/>
                    </a:moveTo>
                    <a:cubicBezTo>
                      <a:pt x="14" y="11"/>
                      <a:pt x="36" y="0"/>
                      <a:pt x="60" y="0"/>
                    </a:cubicBezTo>
                    <a:cubicBezTo>
                      <a:pt x="84" y="0"/>
                      <a:pt x="106" y="11"/>
                      <a:pt x="120" y="28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6" name="Freeform 110">
                <a:extLst>
                  <a:ext uri="{FF2B5EF4-FFF2-40B4-BE49-F238E27FC236}">
                    <a16:creationId xmlns:a16="http://schemas.microsoft.com/office/drawing/2014/main" id="{731DD624-72B4-4C83-AB96-12B48948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863" y="4776788"/>
                <a:ext cx="276225" cy="66675"/>
              </a:xfrm>
              <a:custGeom>
                <a:avLst/>
                <a:gdLst>
                  <a:gd name="T0" fmla="*/ 0 w 87"/>
                  <a:gd name="T1" fmla="*/ 21 h 21"/>
                  <a:gd name="T2" fmla="*/ 43 w 87"/>
                  <a:gd name="T3" fmla="*/ 0 h 21"/>
                  <a:gd name="T4" fmla="*/ 87 w 87"/>
                  <a:gd name="T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7" h="21">
                    <a:moveTo>
                      <a:pt x="0" y="21"/>
                    </a:moveTo>
                    <a:cubicBezTo>
                      <a:pt x="10" y="8"/>
                      <a:pt x="25" y="0"/>
                      <a:pt x="43" y="0"/>
                    </a:cubicBezTo>
                    <a:cubicBezTo>
                      <a:pt x="61" y="0"/>
                      <a:pt x="76" y="8"/>
                      <a:pt x="87" y="21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7" name="Freeform 111">
                <a:extLst>
                  <a:ext uri="{FF2B5EF4-FFF2-40B4-BE49-F238E27FC236}">
                    <a16:creationId xmlns:a16="http://schemas.microsoft.com/office/drawing/2014/main" id="{B8990FFA-C119-4A64-A479-06BEF03B2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0663" y="4849813"/>
                <a:ext cx="171450" cy="44450"/>
              </a:xfrm>
              <a:custGeom>
                <a:avLst/>
                <a:gdLst>
                  <a:gd name="T0" fmla="*/ 0 w 54"/>
                  <a:gd name="T1" fmla="*/ 14 h 14"/>
                  <a:gd name="T2" fmla="*/ 27 w 54"/>
                  <a:gd name="T3" fmla="*/ 0 h 14"/>
                  <a:gd name="T4" fmla="*/ 54 w 54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4" h="14">
                    <a:moveTo>
                      <a:pt x="0" y="14"/>
                    </a:moveTo>
                    <a:cubicBezTo>
                      <a:pt x="6" y="5"/>
                      <a:pt x="16" y="0"/>
                      <a:pt x="27" y="0"/>
                    </a:cubicBezTo>
                    <a:cubicBezTo>
                      <a:pt x="38" y="0"/>
                      <a:pt x="48" y="5"/>
                      <a:pt x="54" y="14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8" name="Oval 112">
                <a:extLst>
                  <a:ext uri="{FF2B5EF4-FFF2-40B4-BE49-F238E27FC236}">
                    <a16:creationId xmlns:a16="http://schemas.microsoft.com/office/drawing/2014/main" id="{3ED41FCF-DFF8-40F6-B627-92C02FBEC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3688" y="4938713"/>
                <a:ext cx="25400" cy="25400"/>
              </a:xfrm>
              <a:prstGeom prst="ellipse">
                <a:avLst/>
              </a:prstGeom>
              <a:noFill/>
              <a:ln w="25400" cap="flat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99" name="组合 198">
              <a:extLst>
                <a:ext uri="{FF2B5EF4-FFF2-40B4-BE49-F238E27FC236}">
                  <a16:creationId xmlns:a16="http://schemas.microsoft.com/office/drawing/2014/main" id="{5FAB4C97-E2D7-43AB-9DB5-93E3B52015D7}"/>
                </a:ext>
              </a:extLst>
            </p:cNvPr>
            <p:cNvGrpSpPr/>
            <p:nvPr/>
          </p:nvGrpSpPr>
          <p:grpSpPr>
            <a:xfrm>
              <a:off x="10472915" y="2997715"/>
              <a:ext cx="810535" cy="712877"/>
              <a:chOff x="7591425" y="4687888"/>
              <a:chExt cx="381000" cy="301625"/>
            </a:xfrm>
          </p:grpSpPr>
          <p:sp>
            <p:nvSpPr>
              <p:cNvPr id="200" name="Freeform 113">
                <a:extLst>
                  <a:ext uri="{FF2B5EF4-FFF2-40B4-BE49-F238E27FC236}">
                    <a16:creationId xmlns:a16="http://schemas.microsoft.com/office/drawing/2014/main" id="{ED59680C-6D19-4367-ACD2-6BE1E0E21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1425" y="4687888"/>
                <a:ext cx="361950" cy="301625"/>
              </a:xfrm>
              <a:custGeom>
                <a:avLst/>
                <a:gdLst>
                  <a:gd name="T0" fmla="*/ 67 w 114"/>
                  <a:gd name="T1" fmla="*/ 88 h 95"/>
                  <a:gd name="T2" fmla="*/ 57 w 114"/>
                  <a:gd name="T3" fmla="*/ 88 h 95"/>
                  <a:gd name="T4" fmla="*/ 37 w 114"/>
                  <a:gd name="T5" fmla="*/ 86 h 95"/>
                  <a:gd name="T6" fmla="*/ 19 w 114"/>
                  <a:gd name="T7" fmla="*/ 94 h 95"/>
                  <a:gd name="T8" fmla="*/ 21 w 114"/>
                  <a:gd name="T9" fmla="*/ 79 h 95"/>
                  <a:gd name="T10" fmla="*/ 0 w 114"/>
                  <a:gd name="T11" fmla="*/ 44 h 95"/>
                  <a:gd name="T12" fmla="*/ 57 w 114"/>
                  <a:gd name="T13" fmla="*/ 0 h 95"/>
                  <a:gd name="T14" fmla="*/ 114 w 114"/>
                  <a:gd name="T15" fmla="*/ 4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95">
                    <a:moveTo>
                      <a:pt x="67" y="88"/>
                    </a:moveTo>
                    <a:cubicBezTo>
                      <a:pt x="64" y="88"/>
                      <a:pt x="60" y="88"/>
                      <a:pt x="57" y="88"/>
                    </a:cubicBezTo>
                    <a:cubicBezTo>
                      <a:pt x="51" y="88"/>
                      <a:pt x="42" y="87"/>
                      <a:pt x="37" y="86"/>
                    </a:cubicBezTo>
                    <a:cubicBezTo>
                      <a:pt x="33" y="85"/>
                      <a:pt x="29" y="95"/>
                      <a:pt x="19" y="94"/>
                    </a:cubicBezTo>
                    <a:cubicBezTo>
                      <a:pt x="19" y="94"/>
                      <a:pt x="28" y="82"/>
                      <a:pt x="21" y="79"/>
                    </a:cubicBezTo>
                    <a:cubicBezTo>
                      <a:pt x="8" y="71"/>
                      <a:pt x="0" y="58"/>
                      <a:pt x="0" y="44"/>
                    </a:cubicBezTo>
                    <a:cubicBezTo>
                      <a:pt x="0" y="20"/>
                      <a:pt x="26" y="0"/>
                      <a:pt x="57" y="0"/>
                    </a:cubicBezTo>
                    <a:cubicBezTo>
                      <a:pt x="89" y="0"/>
                      <a:pt x="114" y="20"/>
                      <a:pt x="114" y="44"/>
                    </a:cubicBezTo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1" name="Freeform 114">
                <a:extLst>
                  <a:ext uri="{FF2B5EF4-FFF2-40B4-BE49-F238E27FC236}">
                    <a16:creationId xmlns:a16="http://schemas.microsoft.com/office/drawing/2014/main" id="{74A4889E-216C-486D-9558-BD52177BE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1125" y="4786313"/>
                <a:ext cx="241300" cy="203200"/>
              </a:xfrm>
              <a:custGeom>
                <a:avLst/>
                <a:gdLst>
                  <a:gd name="T0" fmla="*/ 0 w 76"/>
                  <a:gd name="T1" fmla="*/ 30 h 64"/>
                  <a:gd name="T2" fmla="*/ 38 w 76"/>
                  <a:gd name="T3" fmla="*/ 59 h 64"/>
                  <a:gd name="T4" fmla="*/ 52 w 76"/>
                  <a:gd name="T5" fmla="*/ 58 h 64"/>
                  <a:gd name="T6" fmla="*/ 64 w 76"/>
                  <a:gd name="T7" fmla="*/ 63 h 64"/>
                  <a:gd name="T8" fmla="*/ 62 w 76"/>
                  <a:gd name="T9" fmla="*/ 53 h 64"/>
                  <a:gd name="T10" fmla="*/ 76 w 76"/>
                  <a:gd name="T11" fmla="*/ 30 h 64"/>
                  <a:gd name="T12" fmla="*/ 38 w 76"/>
                  <a:gd name="T13" fmla="*/ 0 h 64"/>
                  <a:gd name="T14" fmla="*/ 0 w 76"/>
                  <a:gd name="T15" fmla="*/ 3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64">
                    <a:moveTo>
                      <a:pt x="0" y="30"/>
                    </a:moveTo>
                    <a:cubicBezTo>
                      <a:pt x="0" y="46"/>
                      <a:pt x="17" y="59"/>
                      <a:pt x="38" y="59"/>
                    </a:cubicBezTo>
                    <a:cubicBezTo>
                      <a:pt x="42" y="59"/>
                      <a:pt x="48" y="58"/>
                      <a:pt x="52" y="58"/>
                    </a:cubicBezTo>
                    <a:cubicBezTo>
                      <a:pt x="54" y="57"/>
                      <a:pt x="57" y="64"/>
                      <a:pt x="64" y="63"/>
                    </a:cubicBezTo>
                    <a:cubicBezTo>
                      <a:pt x="64" y="63"/>
                      <a:pt x="58" y="55"/>
                      <a:pt x="62" y="53"/>
                    </a:cubicBezTo>
                    <a:cubicBezTo>
                      <a:pt x="71" y="47"/>
                      <a:pt x="76" y="39"/>
                      <a:pt x="76" y="30"/>
                    </a:cubicBezTo>
                    <a:cubicBezTo>
                      <a:pt x="76" y="13"/>
                      <a:pt x="59" y="0"/>
                      <a:pt x="38" y="0"/>
                    </a:cubicBezTo>
                    <a:cubicBezTo>
                      <a:pt x="17" y="0"/>
                      <a:pt x="0" y="13"/>
                      <a:pt x="0" y="3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02" name="组合 201">
              <a:extLst>
                <a:ext uri="{FF2B5EF4-FFF2-40B4-BE49-F238E27FC236}">
                  <a16:creationId xmlns:a16="http://schemas.microsoft.com/office/drawing/2014/main" id="{004F764B-49D5-42D4-8F0F-2A427EC9D430}"/>
                </a:ext>
              </a:extLst>
            </p:cNvPr>
            <p:cNvGrpSpPr/>
            <p:nvPr/>
          </p:nvGrpSpPr>
          <p:grpSpPr>
            <a:xfrm>
              <a:off x="6626292" y="4144220"/>
              <a:ext cx="835864" cy="835864"/>
              <a:chOff x="9840913" y="434975"/>
              <a:chExt cx="381000" cy="381000"/>
            </a:xfrm>
          </p:grpSpPr>
          <p:sp>
            <p:nvSpPr>
              <p:cNvPr id="203" name="Freeform 27">
                <a:extLst>
                  <a:ext uri="{FF2B5EF4-FFF2-40B4-BE49-F238E27FC236}">
                    <a16:creationId xmlns:a16="http://schemas.microsoft.com/office/drawing/2014/main" id="{85EB4C85-4936-4F73-975F-6625ECDAB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40913" y="434975"/>
                <a:ext cx="381000" cy="381000"/>
              </a:xfrm>
              <a:custGeom>
                <a:avLst/>
                <a:gdLst>
                  <a:gd name="T0" fmla="*/ 120 w 120"/>
                  <a:gd name="T1" fmla="*/ 68 h 120"/>
                  <a:gd name="T2" fmla="*/ 120 w 120"/>
                  <a:gd name="T3" fmla="*/ 53 h 120"/>
                  <a:gd name="T4" fmla="*/ 108 w 120"/>
                  <a:gd name="T5" fmla="*/ 51 h 120"/>
                  <a:gd name="T6" fmla="*/ 100 w 120"/>
                  <a:gd name="T7" fmla="*/ 32 h 120"/>
                  <a:gd name="T8" fmla="*/ 108 w 120"/>
                  <a:gd name="T9" fmla="*/ 23 h 120"/>
                  <a:gd name="T10" fmla="*/ 97 w 120"/>
                  <a:gd name="T11" fmla="*/ 12 h 120"/>
                  <a:gd name="T12" fmla="*/ 88 w 120"/>
                  <a:gd name="T13" fmla="*/ 20 h 120"/>
                  <a:gd name="T14" fmla="*/ 69 w 120"/>
                  <a:gd name="T15" fmla="*/ 12 h 120"/>
                  <a:gd name="T16" fmla="*/ 67 w 120"/>
                  <a:gd name="T17" fmla="*/ 0 h 120"/>
                  <a:gd name="T18" fmla="*/ 53 w 120"/>
                  <a:gd name="T19" fmla="*/ 0 h 120"/>
                  <a:gd name="T20" fmla="*/ 51 w 120"/>
                  <a:gd name="T21" fmla="*/ 12 h 120"/>
                  <a:gd name="T22" fmla="*/ 33 w 120"/>
                  <a:gd name="T23" fmla="*/ 20 h 120"/>
                  <a:gd name="T24" fmla="*/ 23 w 120"/>
                  <a:gd name="T25" fmla="*/ 12 h 120"/>
                  <a:gd name="T26" fmla="*/ 13 w 120"/>
                  <a:gd name="T27" fmla="*/ 23 h 120"/>
                  <a:gd name="T28" fmla="*/ 21 w 120"/>
                  <a:gd name="T29" fmla="*/ 33 h 120"/>
                  <a:gd name="T30" fmla="*/ 13 w 120"/>
                  <a:gd name="T31" fmla="*/ 51 h 120"/>
                  <a:gd name="T32" fmla="*/ 0 w 120"/>
                  <a:gd name="T33" fmla="*/ 53 h 120"/>
                  <a:gd name="T34" fmla="*/ 0 w 120"/>
                  <a:gd name="T35" fmla="*/ 68 h 120"/>
                  <a:gd name="T36" fmla="*/ 13 w 120"/>
                  <a:gd name="T37" fmla="*/ 69 h 120"/>
                  <a:gd name="T38" fmla="*/ 21 w 120"/>
                  <a:gd name="T39" fmla="*/ 88 h 120"/>
                  <a:gd name="T40" fmla="*/ 13 w 120"/>
                  <a:gd name="T41" fmla="*/ 97 h 120"/>
                  <a:gd name="T42" fmla="*/ 23 w 120"/>
                  <a:gd name="T43" fmla="*/ 108 h 120"/>
                  <a:gd name="T44" fmla="*/ 33 w 120"/>
                  <a:gd name="T45" fmla="*/ 100 h 120"/>
                  <a:gd name="T46" fmla="*/ 51 w 120"/>
                  <a:gd name="T47" fmla="*/ 108 h 120"/>
                  <a:gd name="T48" fmla="*/ 53 w 120"/>
                  <a:gd name="T49" fmla="*/ 120 h 120"/>
                  <a:gd name="T50" fmla="*/ 67 w 120"/>
                  <a:gd name="T51" fmla="*/ 120 h 120"/>
                  <a:gd name="T52" fmla="*/ 69 w 120"/>
                  <a:gd name="T53" fmla="*/ 108 h 120"/>
                  <a:gd name="T54" fmla="*/ 88 w 120"/>
                  <a:gd name="T55" fmla="*/ 100 h 120"/>
                  <a:gd name="T56" fmla="*/ 97 w 120"/>
                  <a:gd name="T57" fmla="*/ 108 h 120"/>
                  <a:gd name="T58" fmla="*/ 108 w 120"/>
                  <a:gd name="T59" fmla="*/ 97 h 120"/>
                  <a:gd name="T60" fmla="*/ 100 w 120"/>
                  <a:gd name="T61" fmla="*/ 88 h 120"/>
                  <a:gd name="T62" fmla="*/ 108 w 120"/>
                  <a:gd name="T63" fmla="*/ 69 h 120"/>
                  <a:gd name="T64" fmla="*/ 120 w 120"/>
                  <a:gd name="T65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0" h="120">
                    <a:moveTo>
                      <a:pt x="120" y="68"/>
                    </a:moveTo>
                    <a:cubicBezTo>
                      <a:pt x="120" y="53"/>
                      <a:pt x="120" y="53"/>
                      <a:pt x="120" y="53"/>
                    </a:cubicBezTo>
                    <a:cubicBezTo>
                      <a:pt x="108" y="51"/>
                      <a:pt x="108" y="51"/>
                      <a:pt x="108" y="51"/>
                    </a:cubicBezTo>
                    <a:cubicBezTo>
                      <a:pt x="107" y="44"/>
                      <a:pt x="104" y="38"/>
                      <a:pt x="100" y="32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7" y="12"/>
                      <a:pt x="97" y="12"/>
                      <a:pt x="97" y="12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2" y="16"/>
                      <a:pt x="76" y="14"/>
                      <a:pt x="69" y="12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5" y="14"/>
                      <a:pt x="38" y="16"/>
                      <a:pt x="33" y="2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7" y="38"/>
                      <a:pt x="14" y="44"/>
                      <a:pt x="13" y="5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13" y="69"/>
                      <a:pt x="13" y="69"/>
                      <a:pt x="13" y="69"/>
                    </a:cubicBezTo>
                    <a:cubicBezTo>
                      <a:pt x="14" y="76"/>
                      <a:pt x="17" y="82"/>
                      <a:pt x="21" y="88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33" y="100"/>
                      <a:pt x="33" y="100"/>
                      <a:pt x="33" y="100"/>
                    </a:cubicBezTo>
                    <a:cubicBezTo>
                      <a:pt x="38" y="104"/>
                      <a:pt x="45" y="106"/>
                      <a:pt x="51" y="108"/>
                    </a:cubicBezTo>
                    <a:cubicBezTo>
                      <a:pt x="53" y="120"/>
                      <a:pt x="53" y="120"/>
                      <a:pt x="53" y="120"/>
                    </a:cubicBezTo>
                    <a:cubicBezTo>
                      <a:pt x="67" y="120"/>
                      <a:pt x="67" y="120"/>
                      <a:pt x="67" y="120"/>
                    </a:cubicBezTo>
                    <a:cubicBezTo>
                      <a:pt x="69" y="108"/>
                      <a:pt x="69" y="108"/>
                      <a:pt x="69" y="108"/>
                    </a:cubicBezTo>
                    <a:cubicBezTo>
                      <a:pt x="76" y="107"/>
                      <a:pt x="82" y="104"/>
                      <a:pt x="88" y="100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108" y="97"/>
                      <a:pt x="108" y="97"/>
                      <a:pt x="108" y="97"/>
                    </a:cubicBezTo>
                    <a:cubicBezTo>
                      <a:pt x="100" y="88"/>
                      <a:pt x="100" y="88"/>
                      <a:pt x="100" y="88"/>
                    </a:cubicBezTo>
                    <a:cubicBezTo>
                      <a:pt x="104" y="82"/>
                      <a:pt x="107" y="76"/>
                      <a:pt x="108" y="69"/>
                    </a:cubicBezTo>
                    <a:lnTo>
                      <a:pt x="120" y="68"/>
                    </a:lnTo>
                    <a:close/>
                  </a:path>
                </a:pathLst>
              </a:cu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4" name="Oval 28">
                <a:extLst>
                  <a:ext uri="{FF2B5EF4-FFF2-40B4-BE49-F238E27FC236}">
                    <a16:creationId xmlns:a16="http://schemas.microsoft.com/office/drawing/2014/main" id="{62393CB3-79B7-4992-B4AC-86B19B04B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3313" y="587375"/>
                <a:ext cx="76200" cy="76200"/>
              </a:xfrm>
              <a:prstGeom prst="ellipse">
                <a:avLst/>
              </a:prstGeom>
              <a:noFill/>
              <a:ln w="2540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205" name="矩形 204">
            <a:extLst>
              <a:ext uri="{FF2B5EF4-FFF2-40B4-BE49-F238E27FC236}">
                <a16:creationId xmlns:a16="http://schemas.microsoft.com/office/drawing/2014/main" id="{EA525E56-C10F-4FAF-A7BD-4B38656C8A84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递进关系表达不佳的模板</a:t>
            </a:r>
          </a:p>
        </p:txBody>
      </p:sp>
    </p:spTree>
    <p:extLst>
      <p:ext uri="{BB962C8B-B14F-4D97-AF65-F5344CB8AC3E}">
        <p14:creationId xmlns:p14="http://schemas.microsoft.com/office/powerpoint/2010/main" val="2611453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箭头: 右 1">
            <a:extLst>
              <a:ext uri="{FF2B5EF4-FFF2-40B4-BE49-F238E27FC236}">
                <a16:creationId xmlns:a16="http://schemas.microsoft.com/office/drawing/2014/main" id="{0B9BD4CA-3ABD-48E0-BDC4-6880842CB08B}"/>
              </a:ext>
            </a:extLst>
          </p:cNvPr>
          <p:cNvSpPr/>
          <p:nvPr/>
        </p:nvSpPr>
        <p:spPr>
          <a:xfrm>
            <a:off x="2421286" y="1290357"/>
            <a:ext cx="6965905" cy="728133"/>
          </a:xfrm>
          <a:prstGeom prst="rightArrow">
            <a:avLst>
              <a:gd name="adj1" fmla="val 50000"/>
              <a:gd name="adj2" fmla="val 7907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8E6C9DD-00BD-4E60-80FF-495BC7B8A4F5}"/>
              </a:ext>
            </a:extLst>
          </p:cNvPr>
          <p:cNvSpPr/>
          <p:nvPr/>
        </p:nvSpPr>
        <p:spPr>
          <a:xfrm>
            <a:off x="2626468" y="1290357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27872CC-4739-4098-B93C-387395DDA6EF}"/>
              </a:ext>
            </a:extLst>
          </p:cNvPr>
          <p:cNvSpPr/>
          <p:nvPr/>
        </p:nvSpPr>
        <p:spPr>
          <a:xfrm>
            <a:off x="4096245" y="1290356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69C9F7D-4E52-481C-8CCC-285FCDE8E3FE}"/>
              </a:ext>
            </a:extLst>
          </p:cNvPr>
          <p:cNvSpPr/>
          <p:nvPr/>
        </p:nvSpPr>
        <p:spPr>
          <a:xfrm>
            <a:off x="5566022" y="1291076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87C21AE-A046-486A-856C-7B272988808A}"/>
              </a:ext>
            </a:extLst>
          </p:cNvPr>
          <p:cNvSpPr/>
          <p:nvPr/>
        </p:nvSpPr>
        <p:spPr>
          <a:xfrm>
            <a:off x="7052012" y="1290356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D558A84-9924-4267-AE8A-44B8CD5548C5}"/>
              </a:ext>
            </a:extLst>
          </p:cNvPr>
          <p:cNvSpPr/>
          <p:nvPr/>
        </p:nvSpPr>
        <p:spPr>
          <a:xfrm>
            <a:off x="2421286" y="2942619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0A6AAC9-8929-48B7-8FFD-95FBECDA6F48}"/>
              </a:ext>
            </a:extLst>
          </p:cNvPr>
          <p:cNvSpPr/>
          <p:nvPr/>
        </p:nvSpPr>
        <p:spPr>
          <a:xfrm>
            <a:off x="4142542" y="2942620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875561A-BB42-4B4C-8B45-7D5EE904EBBE}"/>
              </a:ext>
            </a:extLst>
          </p:cNvPr>
          <p:cNvSpPr/>
          <p:nvPr/>
        </p:nvSpPr>
        <p:spPr>
          <a:xfrm>
            <a:off x="5833714" y="2942619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4339F12-EB98-49C8-B67F-F7BC857AE6D8}"/>
              </a:ext>
            </a:extLst>
          </p:cNvPr>
          <p:cNvSpPr/>
          <p:nvPr/>
        </p:nvSpPr>
        <p:spPr>
          <a:xfrm>
            <a:off x="7524886" y="2941899"/>
            <a:ext cx="1264595" cy="7281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箭头: 右 11">
            <a:extLst>
              <a:ext uri="{FF2B5EF4-FFF2-40B4-BE49-F238E27FC236}">
                <a16:creationId xmlns:a16="http://schemas.microsoft.com/office/drawing/2014/main" id="{575C4832-A62D-451E-8DE5-2BDF6210ECE5}"/>
              </a:ext>
            </a:extLst>
          </p:cNvPr>
          <p:cNvSpPr/>
          <p:nvPr/>
        </p:nvSpPr>
        <p:spPr>
          <a:xfrm>
            <a:off x="3742806" y="3068359"/>
            <a:ext cx="369652" cy="472510"/>
          </a:xfrm>
          <a:prstGeom prst="rightArrow">
            <a:avLst>
              <a:gd name="adj1" fmla="val 50000"/>
              <a:gd name="adj2" fmla="val 3945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箭头: 右 12">
            <a:extLst>
              <a:ext uri="{FF2B5EF4-FFF2-40B4-BE49-F238E27FC236}">
                <a16:creationId xmlns:a16="http://schemas.microsoft.com/office/drawing/2014/main" id="{2A184F14-15BF-499E-AB5A-F2CEA86CB86D}"/>
              </a:ext>
            </a:extLst>
          </p:cNvPr>
          <p:cNvSpPr/>
          <p:nvPr/>
        </p:nvSpPr>
        <p:spPr>
          <a:xfrm>
            <a:off x="5464062" y="3068359"/>
            <a:ext cx="369652" cy="472510"/>
          </a:xfrm>
          <a:prstGeom prst="rightArrow">
            <a:avLst>
              <a:gd name="adj1" fmla="val 50000"/>
              <a:gd name="adj2" fmla="val 3945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箭头: 右 13">
            <a:extLst>
              <a:ext uri="{FF2B5EF4-FFF2-40B4-BE49-F238E27FC236}">
                <a16:creationId xmlns:a16="http://schemas.microsoft.com/office/drawing/2014/main" id="{B8AC7FD4-673A-4ECD-87B7-12DD6088BF05}"/>
              </a:ext>
            </a:extLst>
          </p:cNvPr>
          <p:cNvSpPr/>
          <p:nvPr/>
        </p:nvSpPr>
        <p:spPr>
          <a:xfrm>
            <a:off x="7126771" y="3068359"/>
            <a:ext cx="369652" cy="472510"/>
          </a:xfrm>
          <a:prstGeom prst="rightArrow">
            <a:avLst>
              <a:gd name="adj1" fmla="val 50000"/>
              <a:gd name="adj2" fmla="val 3945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箭头: V 形 14">
            <a:extLst>
              <a:ext uri="{FF2B5EF4-FFF2-40B4-BE49-F238E27FC236}">
                <a16:creationId xmlns:a16="http://schemas.microsoft.com/office/drawing/2014/main" id="{1798665E-886F-40E6-833E-758AD2A6FFE3}"/>
              </a:ext>
            </a:extLst>
          </p:cNvPr>
          <p:cNvSpPr/>
          <p:nvPr/>
        </p:nvSpPr>
        <p:spPr>
          <a:xfrm>
            <a:off x="2686633" y="4725482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6" name="箭头: V 形 15">
            <a:extLst>
              <a:ext uri="{FF2B5EF4-FFF2-40B4-BE49-F238E27FC236}">
                <a16:creationId xmlns:a16="http://schemas.microsoft.com/office/drawing/2014/main" id="{8FF2E786-782B-49BE-AE2B-C4DDCAE6F518}"/>
              </a:ext>
            </a:extLst>
          </p:cNvPr>
          <p:cNvSpPr/>
          <p:nvPr/>
        </p:nvSpPr>
        <p:spPr>
          <a:xfrm>
            <a:off x="4124885" y="4725482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7" name="箭头: V 形 16">
            <a:extLst>
              <a:ext uri="{FF2B5EF4-FFF2-40B4-BE49-F238E27FC236}">
                <a16:creationId xmlns:a16="http://schemas.microsoft.com/office/drawing/2014/main" id="{7E184FAC-8E68-486F-AC74-163D20331CEB}"/>
              </a:ext>
            </a:extLst>
          </p:cNvPr>
          <p:cNvSpPr/>
          <p:nvPr/>
        </p:nvSpPr>
        <p:spPr>
          <a:xfrm>
            <a:off x="5587547" y="4719182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箭头: V 形 17">
            <a:extLst>
              <a:ext uri="{FF2B5EF4-FFF2-40B4-BE49-F238E27FC236}">
                <a16:creationId xmlns:a16="http://schemas.microsoft.com/office/drawing/2014/main" id="{B3BA3C80-0EAB-4FCB-A64D-472EA7345657}"/>
              </a:ext>
            </a:extLst>
          </p:cNvPr>
          <p:cNvSpPr/>
          <p:nvPr/>
        </p:nvSpPr>
        <p:spPr>
          <a:xfrm>
            <a:off x="7052012" y="4719182"/>
            <a:ext cx="1547599" cy="472510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388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22</TotalTime>
  <Words>416</Words>
  <Application>Microsoft Office PowerPoint</Application>
  <PresentationFormat>宽屏</PresentationFormat>
  <Paragraphs>103</Paragraphs>
  <Slides>1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9" baseType="lpstr">
      <vt:lpstr>Bebas Neue</vt:lpstr>
      <vt:lpstr>Cumulus</vt:lpstr>
      <vt:lpstr>Gill Sans</vt:lpstr>
      <vt:lpstr>ＭＳ Ｐゴシック</vt:lpstr>
      <vt:lpstr>Roboto Condensed Light</vt:lpstr>
      <vt:lpstr>等线</vt:lpstr>
      <vt:lpstr>等线 Light</vt:lpstr>
      <vt:lpstr>华文中宋</vt:lpstr>
      <vt:lpstr>思源黑体 CN Medium</vt:lpstr>
      <vt:lpstr>思源黑体 CN Normal</vt:lpstr>
      <vt:lpstr>宋体</vt:lpstr>
      <vt:lpstr>Agency FB</vt:lpstr>
      <vt:lpstr>Aharoni</vt:lpstr>
      <vt:lpstr>Arial</vt:lpstr>
      <vt:lpstr>Calibri</vt:lpstr>
      <vt:lpstr>Calibri Light</vt:lpstr>
      <vt:lpstr>Impact</vt:lpstr>
      <vt:lpstr>Lato</vt:lpstr>
      <vt:lpstr>Open Sans</vt:lpstr>
      <vt:lpstr>Roboto</vt:lpstr>
      <vt:lpstr>Roboto Condensed</vt:lpstr>
      <vt:lpstr>Tahoma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Li Notag</cp:lastModifiedBy>
  <cp:revision>112</cp:revision>
  <dcterms:created xsi:type="dcterms:W3CDTF">2018-08-23T10:08:30Z</dcterms:created>
  <dcterms:modified xsi:type="dcterms:W3CDTF">2018-11-06T10:05:37Z</dcterms:modified>
</cp:coreProperties>
</file>